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 id="2147484937" r:id="rId7"/>
  </p:sldMasterIdLst>
  <p:notesMasterIdLst>
    <p:notesMasterId r:id="rId22"/>
  </p:notesMasterIdLst>
  <p:handoutMasterIdLst>
    <p:handoutMasterId r:id="rId23"/>
  </p:handoutMasterIdLst>
  <p:sldIdLst>
    <p:sldId id="1405" r:id="rId8"/>
    <p:sldId id="1396" r:id="rId9"/>
    <p:sldId id="1402" r:id="rId10"/>
    <p:sldId id="1398" r:id="rId11"/>
    <p:sldId id="1400" r:id="rId12"/>
    <p:sldId id="1401" r:id="rId13"/>
    <p:sldId id="1366" r:id="rId14"/>
    <p:sldId id="1399" r:id="rId15"/>
    <p:sldId id="1368" r:id="rId16"/>
    <p:sldId id="1370" r:id="rId17"/>
    <p:sldId id="1371" r:id="rId18"/>
    <p:sldId id="1404" r:id="rId19"/>
    <p:sldId id="1388" r:id="rId20"/>
    <p:sldId id="1406" r:id="rId21"/>
  </p:sldIdLst>
  <p:sldSz cx="12436475" cy="6994525"/>
  <p:notesSz cx="6858000" cy="91440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6FD4"/>
    <a:srgbClr val="0078D7"/>
    <a:srgbClr val="59B4D9"/>
    <a:srgbClr val="B9D80A"/>
    <a:srgbClr val="3E3E3E"/>
    <a:srgbClr val="7B7A7A"/>
    <a:srgbClr val="7AC3E1"/>
    <a:srgbClr val="FFD7A7"/>
    <a:srgbClr val="0071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937" autoAdjust="0"/>
  </p:normalViewPr>
  <p:slideViewPr>
    <p:cSldViewPr>
      <p:cViewPr varScale="1">
        <p:scale>
          <a:sx n="69" d="100"/>
          <a:sy n="69" d="100"/>
        </p:scale>
        <p:origin x="848" y="4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113"/>
            <a:ext cx="2971800" cy="457201"/>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6D45397C-BBE8-453F-BBD1-E6AED80E1070}" type="datetime8">
              <a:rPr lang="en-US" altLang="en-US" smtClean="0"/>
              <a:t>4/15/2016 7:37 PM</a:t>
            </a:fld>
            <a:endParaRPr lang="en-US" altLang="en-US"/>
          </a:p>
        </p:txBody>
      </p:sp>
      <p:sp>
        <p:nvSpPr>
          <p:cNvPr id="8" name="Footer Placeholder 7"/>
          <p:cNvSpPr>
            <a:spLocks noGrp="1"/>
          </p:cNvSpPr>
          <p:nvPr>
            <p:ph type="ftr" sz="quarter" idx="2"/>
          </p:nvPr>
        </p:nvSpPr>
        <p:spPr>
          <a:xfrm>
            <a:off x="0" y="8685213"/>
            <a:ext cx="5794375" cy="33178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685213"/>
            <a:ext cx="107315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0" y="8686800"/>
            <a:ext cx="5921375" cy="355600"/>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7169D9D8-1620-4249-9DBC-AEAA1BF58841}" type="datetime8">
              <a:rPr lang="en-US" altLang="en-US" smtClean="0"/>
              <a:t>4/15/2016 7:37 PM</a:t>
            </a:fld>
            <a:endParaRPr lang="en-US" alt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5908675" y="8685213"/>
            <a:ext cx="947738"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5/2016 8:02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764639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When you provision an IoT Hub from the Azure</a:t>
            </a:r>
            <a:r>
              <a:rPr lang="en-US" baseline="0" dirty="0"/>
              <a:t> Management portal, you will create your own instance of IoT Hub.  This instance</a:t>
            </a:r>
            <a:r>
              <a:rPr lang="en-US" dirty="0"/>
              <a:t>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ield Gateways and Cloud Gateways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management endpoint that is used by your solution’s device provisioning and mgm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4FA3BA-D453-4437-97FB-6472BF0065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5/2016 7: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54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n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74934BB-A7F8-4E59-8B02-0BC93C4AEA41}" type="datetime8">
              <a:rPr lang="en-US" altLang="en-US" smtClean="0"/>
              <a:t>4/15/2016 10:11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1</a:t>
            </a:fld>
            <a:endParaRPr lang="en-US" altLang="en-US"/>
          </a:p>
        </p:txBody>
      </p:sp>
    </p:spTree>
    <p:extLst>
      <p:ext uri="{BB962C8B-B14F-4D97-AF65-F5344CB8AC3E}">
        <p14:creationId xmlns:p14="http://schemas.microsoft.com/office/powerpoint/2010/main" val="4035252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cript on Infopedia sit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25639700-60D1-45EF-950D-40AAD6EBB678}" type="datetime8">
              <a:rPr lang="en-US" altLang="en-US" smtClean="0"/>
              <a:t>4/15/2016 7:3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3</a:t>
            </a:fld>
            <a:endParaRPr lang="en-US" altLang="en-US"/>
          </a:p>
        </p:txBody>
      </p:sp>
    </p:spTree>
    <p:extLst>
      <p:ext uri="{BB962C8B-B14F-4D97-AF65-F5344CB8AC3E}">
        <p14:creationId xmlns:p14="http://schemas.microsoft.com/office/powerpoint/2010/main" val="72932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is…</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Next wave of innovation</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Gartner, Inc. forecasts that 6.4 billion connected things will be in use worldwide in 2016, up 30 percent from 2015, and will reach 20.8 billion by 2020. </a:t>
            </a: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Thi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year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5.5 million new things will get connected every day.</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rPr>
              <a:t>Huge</a:t>
            </a:r>
            <a:r>
              <a:rPr lang="en-US" sz="900" b="0" i="0" kern="1200" baseline="0" dirty="0">
                <a:solidFill>
                  <a:schemeClr val="tx1"/>
                </a:solidFill>
                <a:effectLst/>
                <a:latin typeface="Segoe UI Light" pitchFamily="34" charset="0"/>
                <a:ea typeface="MS PGothic" panose="020B0600070205080204" pitchFamily="34" charset="-128"/>
              </a:rPr>
              <a:t> business opportunity</a:t>
            </a:r>
            <a:endParaRPr lang="en-US" dirty="0"/>
          </a:p>
          <a:p>
            <a:endParaRPr lang="en-US" dirty="0"/>
          </a:p>
          <a:p>
            <a:r>
              <a:rPr lang="en-US" dirty="0"/>
              <a:t>Inexpensive</a:t>
            </a:r>
            <a:r>
              <a:rPr lang="en-US" baseline="0" dirty="0"/>
              <a:t>, accessible hardware</a:t>
            </a:r>
          </a:p>
          <a:p>
            <a:r>
              <a:rPr lang="en-US" baseline="0" dirty="0"/>
              <a:t>Ubiquitous internet access</a:t>
            </a:r>
          </a:p>
          <a:p>
            <a:r>
              <a:rPr lang="en-US" baseline="0" dirty="0"/>
              <a:t>Cloud computing</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5/2016 7:49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a:t>
            </a:fld>
            <a:endParaRPr lang="en-US" altLang="en-US"/>
          </a:p>
        </p:txBody>
      </p:sp>
    </p:spTree>
    <p:extLst>
      <p:ext uri="{BB962C8B-B14F-4D97-AF65-F5344CB8AC3E}">
        <p14:creationId xmlns:p14="http://schemas.microsoft.com/office/powerpoint/2010/main" val="957669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8AE9ED5-9CD5-4F27-B562-DA0C23BC1144}" type="datetime8">
              <a:rPr lang="en-US" altLang="en-US" smtClean="0"/>
              <a:t>4/15/2016 7:43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3</a:t>
            </a:fld>
            <a:endParaRPr lang="en-US" altLang="en-US"/>
          </a:p>
        </p:txBody>
      </p:sp>
    </p:spTree>
    <p:extLst>
      <p:ext uri="{BB962C8B-B14F-4D97-AF65-F5344CB8AC3E}">
        <p14:creationId xmlns:p14="http://schemas.microsoft.com/office/powerpoint/2010/main" val="2005847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a:p>
            <a:endParaRPr lang="en-US" dirty="0"/>
          </a:p>
          <a:p>
            <a:r>
              <a:rPr lang="en-US" dirty="0"/>
              <a:t>Enterprise</a:t>
            </a:r>
            <a:r>
              <a:rPr lang="en-US" baseline="0" dirty="0"/>
              <a:t> = full x86;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on-PC device, like POS terminal, kiosk or outdoor display</a:t>
            </a:r>
          </a:p>
          <a:p>
            <a:r>
              <a:rPr lang="en-US" sz="900" b="0" i="0" kern="1200" dirty="0">
                <a:solidFill>
                  <a:schemeClr val="tx1"/>
                </a:solidFill>
                <a:effectLst/>
                <a:latin typeface="Segoe UI Light" pitchFamily="34" charset="0"/>
                <a:ea typeface="MS PGothic" panose="020B0600070205080204" pitchFamily="34" charset="-128"/>
              </a:rPr>
              <a:t>Mobile</a:t>
            </a:r>
            <a:r>
              <a:rPr lang="en-US" sz="900" b="0" i="0" kern="1200" baseline="0" dirty="0">
                <a:solidFill>
                  <a:schemeClr val="tx1"/>
                </a:solidFill>
                <a:effectLst/>
                <a:latin typeface="Segoe UI Light" pitchFamily="34" charset="0"/>
                <a:ea typeface="MS PGothic" panose="020B0600070205080204" pitchFamily="34" charset="-128"/>
              </a:rPr>
              <a:t> = Windows CE descendant;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nterprise mobile, handheld devices like barcode scanners, tablets</a:t>
            </a:r>
          </a:p>
          <a:p>
            <a:r>
              <a:rPr lang="en-US" sz="900" b="0" i="0" kern="1200" dirty="0">
                <a:solidFill>
                  <a:schemeClr val="tx1"/>
                </a:solidFill>
                <a:effectLst/>
                <a:latin typeface="Segoe UI Light" pitchFamily="34" charset="0"/>
                <a:ea typeface="MS PGothic" panose="020B0600070205080204" pitchFamily="34" charset="-128"/>
                <a:cs typeface="ＭＳ Ｐゴシック" charset="0"/>
              </a:rPr>
              <a:t>Core = free; no shell; x86 or ARM; small, embedded device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 Raspberry Pi</a:t>
            </a: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F04F6D0-F3FB-4A3D-A387-3D12E77854C5}" type="datetime8">
              <a:rPr lang="en-US" altLang="en-US" smtClean="0"/>
              <a:t>4/15/2016 10:41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4</a:t>
            </a:fld>
            <a:endParaRPr lang="en-US" altLang="en-US"/>
          </a:p>
        </p:txBody>
      </p:sp>
    </p:spTree>
    <p:extLst>
      <p:ext uri="{BB962C8B-B14F-4D97-AF65-F5344CB8AC3E}">
        <p14:creationId xmlns:p14="http://schemas.microsoft.com/office/powerpoint/2010/main" val="3573504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Source: https://channel9.msdn.com/Events/Build/2016/B861</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dirty="0"/>
          </a:p>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Designed</a:t>
            </a:r>
            <a:r>
              <a:rPr lang="en-US" baseline="0" dirty="0"/>
              <a:t> to help you ingest, manage, make sense of data, and ultimately act on that data</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5/2016 8:04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5</a:t>
            </a:fld>
            <a:endParaRPr lang="en-US" altLang="en-US"/>
          </a:p>
        </p:txBody>
      </p:sp>
    </p:spTree>
    <p:extLst>
      <p:ext uri="{BB962C8B-B14F-4D97-AF65-F5344CB8AC3E}">
        <p14:creationId xmlns:p14="http://schemas.microsoft.com/office/powerpoint/2010/main" val="1343835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8684715F-ECFB-4A7A-9DB1-414070E22D25}" type="datetime8">
              <a:rPr lang="en-US" altLang="en-US" smtClean="0"/>
              <a:t>4/15/2016 7:3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6</a:t>
            </a:fld>
            <a:endParaRPr lang="en-US" altLang="en-US"/>
          </a:p>
        </p:txBody>
      </p:sp>
    </p:spTree>
    <p:extLst>
      <p:ext uri="{BB962C8B-B14F-4D97-AF65-F5344CB8AC3E}">
        <p14:creationId xmlns:p14="http://schemas.microsoft.com/office/powerpoint/2010/main" val="1934556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525720-4FF4-4648-ACBB-FBBF3EC419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5/2016 7: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842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azure.microsoft.com/en-us/documentation/articles/iot-hub-what-is-iot-hub/</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6187207-448A-4143-80D1-40F623751128}" type="datetime8">
              <a:rPr lang="en-US" altLang="en-US" smtClean="0"/>
              <a:t>4/15/2016 7:3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8</a:t>
            </a:fld>
            <a:endParaRPr lang="en-US" altLang="en-US"/>
          </a:p>
        </p:txBody>
      </p:sp>
    </p:spTree>
    <p:extLst>
      <p:ext uri="{BB962C8B-B14F-4D97-AF65-F5344CB8AC3E}">
        <p14:creationId xmlns:p14="http://schemas.microsoft.com/office/powerpoint/2010/main" val="641955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roll your own custom </a:t>
            </a:r>
            <a:r>
              <a:rPr lang="en-US" baseline="0" dirty="0"/>
              <a:t>solution or service bus?</a:t>
            </a:r>
          </a:p>
          <a:p>
            <a:endParaRPr lang="en-US" baseline="0" dirty="0"/>
          </a:p>
          <a:p>
            <a:r>
              <a:rPr lang="en-US" dirty="0"/>
              <a:t>Establish reliable bi-directional communication with </a:t>
            </a:r>
            <a:r>
              <a:rPr lang="en-US" dirty="0" err="1"/>
              <a:t>IoT</a:t>
            </a:r>
            <a:r>
              <a:rPr lang="en-US" dirty="0"/>
              <a:t> assets / </a:t>
            </a:r>
            <a:r>
              <a:rPr lang="en-US" baseline="0" dirty="0"/>
              <a:t>Durable messaging</a:t>
            </a:r>
          </a:p>
          <a:p>
            <a:endParaRPr lang="en-US" baseline="0" dirty="0"/>
          </a:p>
          <a:p>
            <a:r>
              <a:rPr lang="en-US" baseline="0" dirty="0"/>
              <a:t>Scales up to millions of simultaneously connected devices you do not have to scale those services on your own.  Just by increasing the # of units in your IoT deployment.</a:t>
            </a:r>
          </a:p>
          <a:p>
            <a:endParaRPr lang="en-US" baseline="0" dirty="0"/>
          </a:p>
          <a:p>
            <a:r>
              <a:rPr lang="en-US" baseline="0" dirty="0"/>
              <a:t>Per device authentication and security. Fine grain control on which devices access your solution and you want to make sure that you are sending commands to the right devices. </a:t>
            </a:r>
          </a:p>
          <a:p>
            <a:endParaRPr lang="en-US" sz="1600" baseline="0" dirty="0"/>
          </a:p>
          <a:p>
            <a:r>
              <a:rPr lang="en-US" sz="1600" dirty="0"/>
              <a:t>Delivery receipts, expired messages;</a:t>
            </a:r>
            <a:r>
              <a:rPr lang="en-US" sz="1600" baseline="0" dirty="0"/>
              <a:t> </a:t>
            </a:r>
            <a:r>
              <a:rPr lang="en-US" sz="1600" dirty="0"/>
              <a:t>Device communication errors</a:t>
            </a:r>
          </a:p>
          <a:p>
            <a:endParaRPr lang="en-US" baseline="0" dirty="0"/>
          </a:p>
          <a:p>
            <a:pPr marL="0" marR="0" lvl="1" indent="0" algn="l" defTabSz="932742" rtl="0" eaLnBrk="1" fontAlgn="auto" latinLnBrk="0" hangingPunct="1">
              <a:lnSpc>
                <a:spcPct val="90000"/>
              </a:lnSpc>
              <a:spcBef>
                <a:spcPct val="20000"/>
              </a:spcBef>
              <a:spcAft>
                <a:spcPts val="0"/>
              </a:spcAft>
              <a:buClrTx/>
              <a:buSzPct val="90000"/>
              <a:buFontTx/>
              <a:buNone/>
              <a:tabLst/>
              <a:defRPr/>
            </a:pPr>
            <a:r>
              <a:rPr lang="en-US" baseline="0" dirty="0"/>
              <a:t>Supports many IoT protocols and is designed to support constrained devices,  where device is retrained in networking resources, power resources or computational resource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Natively supports AMQPS, HTTPS, MQTT</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Extensible protocol support for custom protocol needs</a:t>
            </a:r>
          </a:p>
          <a:p>
            <a:endParaRPr lang="en-US" baseline="0"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9AB6B1D1-3A16-42D2-8714-1833E50688B9}" type="datetime8">
              <a:rPr lang="en-US" altLang="en-US" smtClean="0"/>
              <a:t>4/15/2016 10:30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9</a:t>
            </a:fld>
            <a:endParaRPr lang="en-US" altLang="en-US"/>
          </a:p>
        </p:txBody>
      </p:sp>
    </p:spTree>
    <p:extLst>
      <p:ext uri="{BB962C8B-B14F-4D97-AF65-F5344CB8AC3E}">
        <p14:creationId xmlns:p14="http://schemas.microsoft.com/office/powerpoint/2010/main" val="56001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370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05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95965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16247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8060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53721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704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724010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1155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84399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1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91635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79505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1302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3433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94674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661143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32539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7527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F2560C24-AB4C-4F56-BC19-FA2B10438879}"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98827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F2560C24-AB4C-4F56-BC19-FA2B10438879}"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4575440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2560C24-AB4C-4F56-BC19-FA2B10438879}"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450556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F2560C24-AB4C-4F56-BC19-FA2B10438879}"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89189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7" name="Date Placeholder 6"/>
          <p:cNvSpPr>
            <a:spLocks noGrp="1"/>
          </p:cNvSpPr>
          <p:nvPr>
            <p:ph type="dt" sz="half" idx="10"/>
          </p:nvPr>
        </p:nvSpPr>
        <p:spPr/>
        <p:txBody>
          <a:bodyPr/>
          <a:lstStyle/>
          <a:p>
            <a:fld id="{F2560C24-AB4C-4F56-BC19-FA2B10438879}" type="datetimeFigureOut">
              <a:rPr lang="en-US" smtClean="0"/>
              <a:t>4/1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092793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F2560C24-AB4C-4F56-BC19-FA2B10438879}" type="datetimeFigureOut">
              <a:rPr lang="en-US" smtClean="0"/>
              <a:t>4/1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6808548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0C24-AB4C-4F56-BC19-FA2B10438879}" type="datetimeFigureOut">
              <a:rPr lang="en-US" smtClean="0"/>
              <a:t>4/1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66596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0518108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1635206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F2560C24-AB4C-4F56-BC19-FA2B10438879}"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13219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F2560C24-AB4C-4F56-BC19-FA2B10438879}" type="datetimeFigureOut">
              <a:rPr lang="en-US" smtClean="0"/>
              <a:t>4/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31155501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1316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18146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582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71102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06921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441419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69258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1"/>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92" r:id="rId23"/>
    <p:sldLayoutId id="2147484881" r:id="rId24"/>
    <p:sldLayoutId id="2147484882" r:id="rId25"/>
    <p:sldLayoutId id="2147484884" r:id="rId26"/>
    <p:sldLayoutId id="2147484885" r:id="rId27"/>
    <p:sldLayoutId id="2147484886" r:id="rId28"/>
    <p:sldLayoutId id="2147484888" r:id="rId29"/>
    <p:sldLayoutId id="2147484889" r:id="rId30"/>
    <p:sldLayoutId id="2147484890" r:id="rId31"/>
    <p:sldLayoutId id="2147484905" r:id="rId32"/>
    <p:sldLayoutId id="2147484906" r:id="rId33"/>
    <p:sldLayoutId id="2147484907" r:id="rId34"/>
    <p:sldLayoutId id="2147484908" r:id="rId35"/>
    <p:sldLayoutId id="2147484909" r:id="rId36"/>
    <p:sldLayoutId id="2147484910" r:id="rId37"/>
    <p:sldLayoutId id="2147484911" r:id="rId38"/>
    <p:sldLayoutId id="2147484912" r:id="rId39"/>
    <p:sldLayoutId id="2147484914" r:id="rId40"/>
    <p:sldLayoutId id="2147484927" r:id="rId41"/>
    <p:sldLayoutId id="2147484928" r:id="rId42"/>
    <p:sldLayoutId id="2147484929" r:id="rId43"/>
    <p:sldLayoutId id="2147484930" r:id="rId44"/>
    <p:sldLayoutId id="2147484931" r:id="rId45"/>
    <p:sldLayoutId id="2147484932" r:id="rId46"/>
    <p:sldLayoutId id="2147484933" r:id="rId47"/>
    <p:sldLayoutId id="2147484934" r:id="rId48"/>
    <p:sldLayoutId id="2147484936" r:id="rId4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2560C24-AB4C-4F56-BC19-FA2B10438879}" type="datetimeFigureOut">
              <a:rPr lang="en-US" smtClean="0"/>
              <a:t>4/15/2016</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73DBF2EF-8045-42DE-8449-D53B06A38331}" type="slidenum">
              <a:rPr lang="en-US" smtClean="0"/>
              <a:t>‹#›</a:t>
            </a:fld>
            <a:endParaRPr lang="en-US"/>
          </a:p>
        </p:txBody>
      </p:sp>
      <p:pic>
        <p:nvPicPr>
          <p:cNvPr id="7" name="Picture 6"/>
          <p:cNvPicPr>
            <a:picLocks noChangeAspect="1"/>
          </p:cNvPicPr>
          <p:nvPr userDrawn="1"/>
        </p:nvPicPr>
        <p:blipFill>
          <a:blip r:embed="rId20"/>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75542321"/>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3" r:id="rId14"/>
    <p:sldLayoutId id="2147484954" r:id="rId15"/>
    <p:sldLayoutId id="2147484955" r:id="rId16"/>
    <p:sldLayoutId id="2147484956" r:id="rId17"/>
    <p:sldLayoutId id="2147484957" r:id="rId18"/>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65.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4.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1.xml"/><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3.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13.xml"/><Relationship Id="rId7" Type="http://schemas.openxmlformats.org/officeDocument/2006/relationships/slideLayout" Target="../slideLayouts/slideLayout6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solidFill>
                  <a:schemeClr val="bg1"/>
                </a:solidFill>
              </a:rPr>
              <a:t>Azure </a:t>
            </a:r>
            <a:r>
              <a:rPr lang="en-US" dirty="0" err="1">
                <a:solidFill>
                  <a:schemeClr val="bg1"/>
                </a:solidFill>
              </a:rPr>
              <a:t>IoT</a:t>
            </a:r>
            <a:r>
              <a:rPr lang="en-US" dirty="0">
                <a:solidFill>
                  <a:schemeClr val="bg1"/>
                </a:solidFill>
              </a:rPr>
              <a:t> Suite</a:t>
            </a:r>
          </a:p>
        </p:txBody>
      </p:sp>
      <p:pic>
        <p:nvPicPr>
          <p:cNvPr id="133124" name="Picture 4" descr="https://acom.azurecomcdn.net/80C57D/cdn/cvt-9c42e10c78bceeb8622e49af8d0fe1a20cd9ca9f4983c398d0b356cf822d8844/images/shared/social/azure-icon-250x25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7613" y="205458"/>
            <a:ext cx="2381250" cy="23812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ext uri="{D42A27DB-BD31-4B8C-83A1-F6EECF244321}">
                <p14:modId xmlns:p14="http://schemas.microsoft.com/office/powerpoint/2010/main" val="3753846088"/>
              </p:ext>
            </p:extLst>
          </p:nvPr>
        </p:nvGraphicFramePr>
        <p:xfrm>
          <a:off x="2072746" y="4491745"/>
          <a:ext cx="8290984" cy="1188720"/>
        </p:xfrm>
        <a:graphic>
          <a:graphicData uri="http://schemas.openxmlformats.org/drawingml/2006/table">
            <a:tbl>
              <a:tblPr firstRow="1" bandRow="1">
                <a:tableStyleId>{5C22544A-7EE6-4342-B048-85BDC9FD1C3A}</a:tableStyleId>
              </a:tblPr>
              <a:tblGrid>
                <a:gridCol w="4145492">
                  <a:extLst>
                    <a:ext uri="{9D8B030D-6E8A-4147-A177-3AD203B41FA5}">
                      <a16:colId xmlns:a16="http://schemas.microsoft.com/office/drawing/2014/main" val="2446650526"/>
                    </a:ext>
                  </a:extLst>
                </a:gridCol>
                <a:gridCol w="4145492">
                  <a:extLst>
                    <a:ext uri="{9D8B030D-6E8A-4147-A177-3AD203B41FA5}">
                      <a16:colId xmlns:a16="http://schemas.microsoft.com/office/drawing/2014/main" val="1936528633"/>
                    </a:ext>
                  </a:extLst>
                </a:gridCol>
              </a:tblGrid>
              <a:tr h="370840">
                <a:tc>
                  <a:txBody>
                    <a:bodyPr/>
                    <a:lstStyle/>
                    <a:p>
                      <a:pPr algn="l"/>
                      <a:r>
                        <a:rPr lang="en-US" sz="2400" b="0" dirty="0">
                          <a:solidFill>
                            <a:schemeClr val="bg1"/>
                          </a:solidFill>
                        </a:rPr>
                        <a:t>Ian Hoppes</a:t>
                      </a:r>
                    </a:p>
                    <a:p>
                      <a:pPr algn="l"/>
                      <a:endParaRPr lang="en-US" sz="2400" b="0" dirty="0">
                        <a:solidFill>
                          <a:schemeClr val="bg1"/>
                        </a:solidFill>
                      </a:endParaRPr>
                    </a:p>
                    <a:p>
                      <a:pPr algn="l"/>
                      <a:r>
                        <a:rPr lang="en-US" sz="2400" b="0" dirty="0">
                          <a:solidFill>
                            <a:schemeClr val="bg1"/>
                          </a:solidFill>
                        </a:rPr>
                        <a:t>@</a:t>
                      </a:r>
                      <a:r>
                        <a:rPr lang="en-US" sz="2400" b="0" dirty="0" err="1">
                          <a:solidFill>
                            <a:schemeClr val="bg1"/>
                          </a:solidFill>
                        </a:rPr>
                        <a:t>ianhoppes</a:t>
                      </a:r>
                      <a:endParaRPr lang="en-US" sz="2400" b="0"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r>
                        <a:rPr lang="en-US" sz="2400" b="0" dirty="0"/>
                        <a:t>https://github.com/ianhoppes</a:t>
                      </a:r>
                    </a:p>
                    <a:p>
                      <a:endParaRPr lang="en-US" sz="2400" b="0" dirty="0"/>
                    </a:p>
                    <a:p>
                      <a:r>
                        <a:rPr lang="en-US" sz="2400" b="0" dirty="0"/>
                        <a:t>http://www.ianhoppes.co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42965649"/>
                  </a:ext>
                </a:extLst>
              </a:tr>
            </a:tbl>
          </a:graphicData>
        </a:graphic>
      </p:graphicFrame>
    </p:spTree>
    <p:extLst>
      <p:ext uri="{BB962C8B-B14F-4D97-AF65-F5344CB8AC3E}">
        <p14:creationId xmlns:p14="http://schemas.microsoft.com/office/powerpoint/2010/main" val="19923240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97653" y="2930880"/>
            <a:ext cx="1340612" cy="13715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9071468" y="2400150"/>
            <a:ext cx="2889425" cy="76201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Event processing</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9071468" y="5188642"/>
            <a:ext cx="2889425" cy="78718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provisioning </a:t>
            </a:r>
            <a:br>
              <a:rPr lang="en-US" sz="1400" dirty="0">
                <a:solidFill>
                  <a:schemeClr val="tx1"/>
                </a:solidFill>
                <a:latin typeface="Segoe UI Semibold" panose="020B0702040204020203" pitchFamily="34" charset="0"/>
                <a:ea typeface="Segoe UI" pitchFamily="34" charset="0"/>
                <a:cs typeface="Segoe UI" pitchFamily="34" charset="0"/>
              </a:rPr>
            </a:br>
            <a:r>
              <a:rPr lang="en-US" sz="1400" dirty="0">
                <a:solidFill>
                  <a:schemeClr val="tx1"/>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639983" y="2308724"/>
            <a:ext cx="4205598"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548558" y="2857280"/>
            <a:ext cx="1371391" cy="1554243"/>
            <a:chOff x="1829165" y="3680140"/>
            <a:chExt cx="1371585" cy="1554464"/>
          </a:xfrm>
        </p:grpSpPr>
        <p:sp>
          <p:nvSpPr>
            <p:cNvPr id="8" name="Rectangle 7"/>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548558" y="459437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548558" y="507657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548555" y="551763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565617" y="2857280"/>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565617" y="3771539"/>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565616" y="4411524"/>
            <a:ext cx="1371391" cy="7771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err="1">
                <a:solidFill>
                  <a:schemeClr val="tx1"/>
                </a:solidFill>
                <a:latin typeface="Segoe UI Semibold" panose="020B0702040204020203" pitchFamily="34" charset="0"/>
                <a:ea typeface="Segoe UI" pitchFamily="34" charset="0"/>
                <a:cs typeface="Segoe UI" pitchFamily="34" charset="0"/>
              </a:rPr>
              <a:t>Msg</a:t>
            </a:r>
            <a:r>
              <a:rPr lang="en-US" sz="1100" dirty="0">
                <a:solidFill>
                  <a:schemeClr val="tx1"/>
                </a:solidFill>
                <a:latin typeface="Segoe UI Semibold" panose="020B0702040204020203" pitchFamily="34" charset="0"/>
                <a:ea typeface="Segoe UI" pitchFamily="34" charset="0"/>
                <a:cs typeface="Segoe UI" pitchFamily="34" charset="0"/>
              </a:rPr>
              <a:t> feedback </a:t>
            </a:r>
            <a:br>
              <a:rPr lang="en-US" sz="1100" dirty="0">
                <a:solidFill>
                  <a:schemeClr val="tx1"/>
                </a:solidFill>
                <a:latin typeface="Segoe UI Semibold" panose="020B0702040204020203" pitchFamily="34" charset="0"/>
                <a:ea typeface="Segoe UI" pitchFamily="34" charset="0"/>
                <a:cs typeface="Segoe UI" pitchFamily="34" charset="0"/>
              </a:rPr>
            </a:br>
            <a:r>
              <a:rPr lang="en-US" sz="1100" dirty="0">
                <a:solidFill>
                  <a:schemeClr val="tx1"/>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565615" y="5259423"/>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5059305" y="5442276"/>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524485" y="3174869"/>
            <a:ext cx="950582" cy="0"/>
          </a:xfrm>
          <a:prstGeom prst="straightConnector1">
            <a:avLst/>
          </a:prstGeom>
          <a:ln w="38100">
            <a:solidFill>
              <a:srgbClr val="777777"/>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247383" y="2484601"/>
            <a:ext cx="548634" cy="555461"/>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524485" y="371295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524485" y="4788547"/>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524485" y="5279246"/>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524485" y="5763103"/>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8047017" y="3131506"/>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8047017" y="3539704"/>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8047017" y="4149056"/>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8047017" y="471580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8047017" y="5719740"/>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96994" y="4619455"/>
            <a:ext cx="190516" cy="315544"/>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93353" y="3131506"/>
            <a:ext cx="914361" cy="878094"/>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424918" y="5532835"/>
            <a:ext cx="407905" cy="337660"/>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463793" y="5139648"/>
            <a:ext cx="339700" cy="204635"/>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90052" y="4067659"/>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940450" y="5470954"/>
            <a:ext cx="425518" cy="375193"/>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589838" y="5322323"/>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1126432" y="5279246"/>
            <a:ext cx="729188" cy="59124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614352" y="3861260"/>
            <a:ext cx="184628" cy="18640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Device business logic,"/>
          <p:cNvSpPr/>
          <p:nvPr/>
        </p:nvSpPr>
        <p:spPr>
          <a:xfrm>
            <a:off x="9071468" y="3287646"/>
            <a:ext cx="2887291" cy="178892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business logic,</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onnectivity monitoring</a:t>
            </a:r>
          </a:p>
        </p:txBody>
      </p:sp>
      <p:sp>
        <p:nvSpPr>
          <p:cNvPr id="118" name="D2C receive endpoint"/>
          <p:cNvSpPr>
            <a:spLocks noChangeAspect="1"/>
          </p:cNvSpPr>
          <p:nvPr/>
        </p:nvSpPr>
        <p:spPr>
          <a:xfrm>
            <a:off x="7505337" y="2998406"/>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580583" y="4468856"/>
            <a:ext cx="284977" cy="271173"/>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98343" y="4421413"/>
            <a:ext cx="1338081" cy="1554418"/>
            <a:chOff x="1098343" y="4421413"/>
            <a:chExt cx="1338081" cy="1554418"/>
          </a:xfrm>
        </p:grpSpPr>
        <p:sp>
          <p:nvSpPr>
            <p:cNvPr id="92" name="Field GW /"/>
            <p:cNvSpPr/>
            <p:nvPr/>
          </p:nvSpPr>
          <p:spPr bwMode="auto">
            <a:xfrm>
              <a:off x="1098343" y="4421413"/>
              <a:ext cx="1338081" cy="15544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Field GW /</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1" name="Group 110"/>
          <p:cNvGrpSpPr/>
          <p:nvPr/>
        </p:nvGrpSpPr>
        <p:grpSpPr>
          <a:xfrm>
            <a:off x="10426747" y="3498074"/>
            <a:ext cx="1428873" cy="804372"/>
            <a:chOff x="7650446" y="2688141"/>
            <a:chExt cx="1802656" cy="1014790"/>
          </a:xfrm>
        </p:grpSpPr>
        <p:grpSp>
          <p:nvGrpSpPr>
            <p:cNvPr id="137" name="Group 136"/>
            <p:cNvGrpSpPr/>
            <p:nvPr/>
          </p:nvGrpSpPr>
          <p:grpSpPr>
            <a:xfrm>
              <a:off x="9072476" y="2927577"/>
              <a:ext cx="380626" cy="116486"/>
              <a:chOff x="9320007" y="2938754"/>
              <a:chExt cx="380626" cy="116486"/>
            </a:xfrm>
          </p:grpSpPr>
          <p:sp>
            <p:nvSpPr>
              <p:cNvPr id="183" name="TextBox 182"/>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4" name="TextBox 183"/>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5" name="TextBox 184"/>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6" name="TextBox 185"/>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8" name="TextBox 187"/>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9" name="TextBox 188"/>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138" name="Oval 137"/>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139"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40" name="Oval 139"/>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141" name="Freeform 140"/>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42" name="Group 141"/>
            <p:cNvGrpSpPr/>
            <p:nvPr/>
          </p:nvGrpSpPr>
          <p:grpSpPr>
            <a:xfrm>
              <a:off x="8270672" y="2767517"/>
              <a:ext cx="318885" cy="479652"/>
              <a:chOff x="7112065" y="1311128"/>
              <a:chExt cx="1047313" cy="1575323"/>
            </a:xfrm>
          </p:grpSpPr>
          <p:sp>
            <p:nvSpPr>
              <p:cNvPr id="179"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80" name="Group 179"/>
              <p:cNvGrpSpPr/>
              <p:nvPr/>
            </p:nvGrpSpPr>
            <p:grpSpPr>
              <a:xfrm>
                <a:off x="7112065" y="1318671"/>
                <a:ext cx="564776" cy="1567780"/>
                <a:chOff x="7237831" y="1331389"/>
                <a:chExt cx="564776" cy="1567780"/>
              </a:xfrm>
            </p:grpSpPr>
            <p:sp>
              <p:nvSpPr>
                <p:cNvPr id="181"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82" name="Donut 181"/>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143" name="Group 142"/>
            <p:cNvGrpSpPr/>
            <p:nvPr/>
          </p:nvGrpSpPr>
          <p:grpSpPr>
            <a:xfrm>
              <a:off x="8421098" y="2926394"/>
              <a:ext cx="622292" cy="776537"/>
              <a:chOff x="8467245" y="2757788"/>
              <a:chExt cx="622292" cy="776537"/>
            </a:xfrm>
          </p:grpSpPr>
          <p:grpSp>
            <p:nvGrpSpPr>
              <p:cNvPr id="160" name="Group 159"/>
              <p:cNvGrpSpPr/>
              <p:nvPr/>
            </p:nvGrpSpPr>
            <p:grpSpPr>
              <a:xfrm>
                <a:off x="8822263" y="2821623"/>
                <a:ext cx="171962" cy="482437"/>
                <a:chOff x="7237831" y="1331389"/>
                <a:chExt cx="564776" cy="1546282"/>
              </a:xfrm>
            </p:grpSpPr>
            <p:sp>
              <p:nvSpPr>
                <p:cNvPr id="177"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78" name="Oval 177"/>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161" name="Oval 160"/>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162" name="Group 161"/>
              <p:cNvGrpSpPr/>
              <p:nvPr/>
            </p:nvGrpSpPr>
            <p:grpSpPr>
              <a:xfrm>
                <a:off x="8596999" y="2798236"/>
                <a:ext cx="377713" cy="446059"/>
                <a:chOff x="3761989" y="1519463"/>
                <a:chExt cx="1533392" cy="1810864"/>
              </a:xfrm>
            </p:grpSpPr>
            <p:sp>
              <p:nvSpPr>
                <p:cNvPr id="165" name="TextBox 164"/>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6" name="TextBox 165"/>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7" name="TextBox 166"/>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8" name="TextBox 167"/>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9" name="TextBox 168"/>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0" name="TextBox 169"/>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1" name="TextBox 170"/>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2" name="TextBox 171"/>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3" name="TextBox 172"/>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4" name="TextBox 173"/>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5" name="TextBox 174"/>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6" name="TextBox 175"/>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63" name="Donut 162"/>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64" name="Rounded Rectangle 163"/>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144" name="TextBox 143"/>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5" name="TextBox 144"/>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6" name="TextBox 145"/>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7" name="TextBox 146"/>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8" name="TextBox 147"/>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9" name="TextBox 148"/>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0" name="TextBox 149"/>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1" name="TextBox 150"/>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2" name="TextBox 151"/>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3" name="TextBox 152"/>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4" name="TextBox 153"/>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5" name="TextBox 154"/>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6" name="TextBox 155"/>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7" name="TextBox 156"/>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8" name="TextBox 157"/>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9" name="TextBox 158"/>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
        <p:nvSpPr>
          <p:cNvPr id="190" name="Freeform 189"/>
          <p:cNvSpPr>
            <a:spLocks noChangeAspect="1"/>
          </p:cNvSpPr>
          <p:nvPr/>
        </p:nvSpPr>
        <p:spPr bwMode="auto">
          <a:xfrm rot="5280000">
            <a:off x="5370675" y="3586941"/>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4178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fade">
                                      <p:cBhvr>
                                        <p:cTn id="82" dur="500"/>
                                        <p:tgtEl>
                                          <p:spTgt spid="59"/>
                                        </p:tgtEl>
                                      </p:cBhvr>
                                    </p:animEffect>
                                  </p:childTnLst>
                                </p:cTn>
                              </p:par>
                              <p:par>
                                <p:cTn id="83" presetID="10" presetClass="entr" presetSubtype="0" fill="hold" nodeType="withEffect">
                                  <p:stCondLst>
                                    <p:cond delay="0"/>
                                  </p:stCondLst>
                                  <p:childTnLst>
                                    <p:set>
                                      <p:cBhvr>
                                        <p:cTn id="84" dur="1" fill="hold">
                                          <p:stCondLst>
                                            <p:cond delay="0"/>
                                          </p:stCondLst>
                                        </p:cTn>
                                        <p:tgtEl>
                                          <p:spTgt spid="113"/>
                                        </p:tgtEl>
                                        <p:attrNameLst>
                                          <p:attrName>style.visibility</p:attrName>
                                        </p:attrNameLst>
                                      </p:cBhvr>
                                      <p:to>
                                        <p:strVal val="visible"/>
                                      </p:to>
                                    </p:set>
                                    <p:animEffect transition="in" filter="fade">
                                      <p:cBhvr>
                                        <p:cTn id="85" dur="500"/>
                                        <p:tgtEl>
                                          <p:spTgt spid="11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11"/>
                                        </p:tgtEl>
                                        <p:attrNameLst>
                                          <p:attrName>style.visibility</p:attrName>
                                        </p:attrNameLst>
                                      </p:cBhvr>
                                      <p:to>
                                        <p:strVal val="visible"/>
                                      </p:to>
                                    </p:set>
                                    <p:animEffect transition="in" filter="fade">
                                      <p:cBhvr>
                                        <p:cTn id="90" dur="500"/>
                                        <p:tgtEl>
                                          <p:spTgt spid="11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
                                        </p:tgtEl>
                                        <p:attrNameLst>
                                          <p:attrName>style.visibility</p:attrName>
                                        </p:attrNameLst>
                                      </p:cBhvr>
                                      <p:to>
                                        <p:strVal val="visible"/>
                                      </p:to>
                                    </p:set>
                                    <p:animEffect transition="in" filter="fade">
                                      <p:cBhvr>
                                        <p:cTn id="93" dur="500"/>
                                        <p:tgtEl>
                                          <p:spTgt spid="2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7"/>
                                        </p:tgtEl>
                                        <p:attrNameLst>
                                          <p:attrName>style.visibility</p:attrName>
                                        </p:attrNameLst>
                                      </p:cBhvr>
                                      <p:to>
                                        <p:strVal val="visible"/>
                                      </p:to>
                                    </p:set>
                                    <p:animEffect transition="in" filter="fade">
                                      <p:cBhvr>
                                        <p:cTn id="98" dur="500"/>
                                        <p:tgtEl>
                                          <p:spTgt spid="17"/>
                                        </p:tgtEl>
                                      </p:cBhvr>
                                    </p:animEffect>
                                  </p:childTnLst>
                                </p:cTn>
                              </p:par>
                              <p:par>
                                <p:cTn id="99" presetID="10" presetClass="entr" presetSubtype="0" fill="hold" nodeType="withEffect">
                                  <p:stCondLst>
                                    <p:cond delay="0"/>
                                  </p:stCondLst>
                                  <p:childTnLst>
                                    <p:set>
                                      <p:cBhvr>
                                        <p:cTn id="100" dur="1" fill="hold">
                                          <p:stCondLst>
                                            <p:cond delay="0"/>
                                          </p:stCondLst>
                                        </p:cTn>
                                        <p:tgtEl>
                                          <p:spTgt spid="120"/>
                                        </p:tgtEl>
                                        <p:attrNameLst>
                                          <p:attrName>style.visibility</p:attrName>
                                        </p:attrNameLst>
                                      </p:cBhvr>
                                      <p:to>
                                        <p:strVal val="visible"/>
                                      </p:to>
                                    </p:set>
                                    <p:animEffect transition="in" filter="fade">
                                      <p:cBhvr>
                                        <p:cTn id="101" dur="500"/>
                                        <p:tgtEl>
                                          <p:spTgt spid="120"/>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gtEl>
                                        <p:attrNameLst>
                                          <p:attrName>style.visibility</p:attrName>
                                        </p:attrNameLst>
                                      </p:cBhvr>
                                      <p:to>
                                        <p:strVal val="visible"/>
                                      </p:to>
                                    </p:set>
                                    <p:animEffect transition="in" filter="fade">
                                      <p:cBhvr>
                                        <p:cTn id="104" dur="500"/>
                                        <p:tgtEl>
                                          <p:spTgt spid="60"/>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2"/>
                                        </p:tgtEl>
                                        <p:attrNameLst>
                                          <p:attrName>style.visibility</p:attrName>
                                        </p:attrNameLst>
                                      </p:cBhvr>
                                      <p:to>
                                        <p:strVal val="visible"/>
                                      </p:to>
                                    </p:set>
                                    <p:animEffect transition="in" filter="fade">
                                      <p:cBhvr>
                                        <p:cTn id="112" dur="500"/>
                                        <p:tgtEl>
                                          <p:spTgt spid="11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8"/>
                                        </p:tgtEl>
                                        <p:attrNameLst>
                                          <p:attrName>style.visibility</p:attrName>
                                        </p:attrNameLst>
                                      </p:cBhvr>
                                      <p:to>
                                        <p:strVal val="visible"/>
                                      </p:to>
                                    </p:set>
                                    <p:animEffect transition="in" filter="fade">
                                      <p:cBhvr>
                                        <p:cTn id="115" dur="500"/>
                                        <p:tgtEl>
                                          <p:spTgt spid="28"/>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fade">
                                      <p:cBhvr>
                                        <p:cTn id="118" dur="500"/>
                                        <p:tgtEl>
                                          <p:spTgt spid="110"/>
                                        </p:tgtEl>
                                      </p:cBhvr>
                                    </p:animEffect>
                                  </p:childTnLst>
                                </p:cTn>
                              </p:par>
                              <p:par>
                                <p:cTn id="119" presetID="10" presetClass="entr" presetSubtype="0" fill="hold" nodeType="withEffect">
                                  <p:stCondLst>
                                    <p:cond delay="0"/>
                                  </p:stCondLst>
                                  <p:childTnLst>
                                    <p:set>
                                      <p:cBhvr>
                                        <p:cTn id="120" dur="1" fill="hold">
                                          <p:stCondLst>
                                            <p:cond delay="0"/>
                                          </p:stCondLst>
                                        </p:cTn>
                                        <p:tgtEl>
                                          <p:spTgt spid="61"/>
                                        </p:tgtEl>
                                        <p:attrNameLst>
                                          <p:attrName>style.visibility</p:attrName>
                                        </p:attrNameLst>
                                      </p:cBhvr>
                                      <p:to>
                                        <p:strVal val="visible"/>
                                      </p:to>
                                    </p:set>
                                    <p:animEffect transition="in" filter="fade">
                                      <p:cBhvr>
                                        <p:cTn id="121" dur="500"/>
                                        <p:tgtEl>
                                          <p:spTgt spid="61"/>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nodeType="withEffect">
                                  <p:stCondLst>
                                    <p:cond delay="0"/>
                                  </p:stCondLst>
                                  <p:childTnLst>
                                    <p:set>
                                      <p:cBhvr>
                                        <p:cTn id="128" dur="1" fill="hold">
                                          <p:stCondLst>
                                            <p:cond delay="0"/>
                                          </p:stCondLst>
                                        </p:cTn>
                                        <p:tgtEl>
                                          <p:spTgt spid="52"/>
                                        </p:tgtEl>
                                        <p:attrNameLst>
                                          <p:attrName>style.visibility</p:attrName>
                                        </p:attrNameLst>
                                      </p:cBhvr>
                                      <p:to>
                                        <p:strVal val="visible"/>
                                      </p:to>
                                    </p:set>
                                    <p:animEffect transition="in" filter="fade">
                                      <p:cBhvr>
                                        <p:cTn id="1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26" grpId="0" animBg="1"/>
      <p:bldP spid="1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5287307"/>
          </a:xfrm>
        </p:spPr>
        <p:txBody>
          <a:bodyPr>
            <a:normAutofit/>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r>
              <a:rPr lang="en-US" dirty="0"/>
              <a:t>Languages</a:t>
            </a:r>
          </a:p>
          <a:p>
            <a:pPr lvl="1"/>
            <a:r>
              <a:rPr lang="en-US" dirty="0"/>
              <a:t>.NET C#, C, Java, Node, Python</a:t>
            </a:r>
          </a:p>
          <a:p>
            <a:pPr lvl="1"/>
            <a:endParaRPr lang="en-US" dirty="0"/>
          </a:p>
        </p:txBody>
      </p:sp>
      <p:sp>
        <p:nvSpPr>
          <p:cNvPr id="5" name="Text Placeholder 4"/>
          <p:cNvSpPr>
            <a:spLocks noGrp="1"/>
          </p:cNvSpPr>
          <p:nvPr>
            <p:ph type="body" sz="quarter" idx="11"/>
          </p:nvPr>
        </p:nvSpPr>
        <p:spPr/>
        <p:txBody>
          <a:bodyPr>
            <a:normAutofit/>
          </a:bodyPr>
          <a:lstStyle/>
          <a:p>
            <a:r>
              <a:rPr lang="en-US" dirty="0"/>
              <a:t>Service-facing</a:t>
            </a:r>
          </a:p>
          <a:p>
            <a:pPr lvl="1"/>
            <a:r>
              <a:rPr lang="en-US" dirty="0"/>
              <a:t>For back-ends and cloud gateway</a:t>
            </a:r>
            <a:endParaRPr lang="en-US" dirty="0">
              <a:latin typeface="+mn-lt"/>
            </a:endParaRPr>
          </a:p>
          <a:p>
            <a:r>
              <a:rPr lang="en-US" dirty="0"/>
              <a:t>Languages</a:t>
            </a:r>
          </a:p>
          <a:p>
            <a:pPr lvl="1"/>
            <a:r>
              <a:rPr lang="en-US" dirty="0"/>
              <a:t>.NET C#, Java, Node</a:t>
            </a:r>
          </a:p>
          <a:p>
            <a:pPr lvl="1"/>
            <a:endParaRPr lang="en-US" sz="2900" dirty="0"/>
          </a:p>
        </p:txBody>
      </p:sp>
      <p:sp>
        <p:nvSpPr>
          <p:cNvPr id="2" name="Title 1"/>
          <p:cNvSpPr>
            <a:spLocks noGrp="1"/>
          </p:cNvSpPr>
          <p:nvPr>
            <p:ph type="title"/>
          </p:nvPr>
        </p:nvSpPr>
        <p:spPr/>
        <p:txBody>
          <a:bodyPr/>
          <a:lstStyle/>
          <a:p>
            <a:r>
              <a:rPr lang="en-US" dirty="0"/>
              <a:t>Azure </a:t>
            </a:r>
            <a:r>
              <a:rPr lang="en-US" dirty="0" err="1"/>
              <a:t>IoT</a:t>
            </a:r>
            <a:r>
              <a:rPr lang="en-US" dirty="0"/>
              <a:t> SDKs</a:t>
            </a:r>
          </a:p>
        </p:txBody>
      </p:sp>
      <p:sp>
        <p:nvSpPr>
          <p:cNvPr id="7" name="TextBox 6"/>
          <p:cNvSpPr txBox="1"/>
          <p:nvPr/>
        </p:nvSpPr>
        <p:spPr>
          <a:xfrm>
            <a:off x="6651693" y="4610135"/>
            <a:ext cx="5355561" cy="461665"/>
          </a:xfrm>
          <a:prstGeom prst="rect">
            <a:avLst/>
          </a:prstGeom>
          <a:noFill/>
        </p:spPr>
        <p:txBody>
          <a:bodyPr wrap="square" rtlCol="0">
            <a:spAutoFit/>
          </a:bodyPr>
          <a:lstStyle/>
          <a:p>
            <a:r>
              <a:rPr lang="en-US" sz="2400" dirty="0">
                <a:latin typeface="+mn-lt"/>
              </a:rPr>
              <a:t>https://github.com/Azure/azure-iot-sdks</a:t>
            </a:r>
          </a:p>
        </p:txBody>
      </p:sp>
      <p:pic>
        <p:nvPicPr>
          <p:cNvPr id="8" name="Picture 7"/>
          <p:cNvPicPr>
            <a:picLocks noChangeAspect="1"/>
          </p:cNvPicPr>
          <p:nvPr/>
        </p:nvPicPr>
        <p:blipFill>
          <a:blip r:embed="rId3"/>
          <a:stretch>
            <a:fillRect/>
          </a:stretch>
        </p:blipFill>
        <p:spPr>
          <a:xfrm>
            <a:off x="6054288" y="4565237"/>
            <a:ext cx="597405" cy="597405"/>
          </a:xfrm>
          <a:prstGeom prst="rect">
            <a:avLst/>
          </a:prstGeom>
        </p:spPr>
      </p:pic>
    </p:spTree>
    <p:extLst>
      <p:ext uri="{BB962C8B-B14F-4D97-AF65-F5344CB8AC3E}">
        <p14:creationId xmlns:p14="http://schemas.microsoft.com/office/powerpoint/2010/main" val="29578788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rchitecture</a:t>
            </a:r>
          </a:p>
        </p:txBody>
      </p:sp>
      <p:grpSp>
        <p:nvGrpSpPr>
          <p:cNvPr id="9" name="Regional Monitoring Storage"/>
          <p:cNvGrpSpPr/>
          <p:nvPr/>
        </p:nvGrpSpPr>
        <p:grpSpPr>
          <a:xfrm>
            <a:off x="8961407" y="5234603"/>
            <a:ext cx="3118813" cy="1296263"/>
            <a:chOff x="3679315" y="5719089"/>
            <a:chExt cx="3118813" cy="1296263"/>
          </a:xfrm>
        </p:grpSpPr>
        <p:sp>
          <p:nvSpPr>
            <p:cNvPr id="10" name="Rectangle 9"/>
            <p:cNvSpPr/>
            <p:nvPr/>
          </p:nvSpPr>
          <p:spPr>
            <a:xfrm>
              <a:off x="3679315" y="5719089"/>
              <a:ext cx="3118813" cy="129626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TextBox 10"/>
            <p:cNvSpPr txBox="1"/>
            <p:nvPr/>
          </p:nvSpPr>
          <p:spPr>
            <a:xfrm>
              <a:off x="4760823" y="5986691"/>
              <a:ext cx="1740348"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torage</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orage Account</a:t>
              </a:r>
            </a:p>
          </p:txBody>
        </p:sp>
        <p:sp>
          <p:nvSpPr>
            <p:cNvPr id="12" name="Freeform 23"/>
            <p:cNvSpPr>
              <a:spLocks noEditPoints="1"/>
            </p:cNvSpPr>
            <p:nvPr/>
          </p:nvSpPr>
          <p:spPr bwMode="auto">
            <a:xfrm>
              <a:off x="3863522" y="5986691"/>
              <a:ext cx="779751" cy="672814"/>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 name="Microsoft Azure"/>
          <p:cNvGrpSpPr/>
          <p:nvPr/>
        </p:nvGrpSpPr>
        <p:grpSpPr>
          <a:xfrm>
            <a:off x="3755561" y="1619048"/>
            <a:ext cx="8466850" cy="5151134"/>
            <a:chOff x="3460107" y="166301"/>
            <a:chExt cx="8466850" cy="6035311"/>
          </a:xfrm>
        </p:grpSpPr>
        <p:sp>
          <p:nvSpPr>
            <p:cNvPr id="14" name="Rectangle 13"/>
            <p:cNvSpPr/>
            <p:nvPr/>
          </p:nvSpPr>
          <p:spPr>
            <a:xfrm>
              <a:off x="3460107" y="166301"/>
              <a:ext cx="8466850" cy="6035311"/>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3501515" y="351265"/>
              <a:ext cx="3974836" cy="624701"/>
              <a:chOff x="1273773" y="1081670"/>
              <a:chExt cx="6326490" cy="994296"/>
            </a:xfrm>
          </p:grpSpPr>
          <p:sp>
            <p:nvSpPr>
              <p:cNvPr id="16" name="Freeform 15"/>
              <p:cNvSpPr>
                <a:spLocks/>
              </p:cNvSpPr>
              <p:nvPr/>
            </p:nvSpPr>
            <p:spPr bwMode="auto">
              <a:xfrm>
                <a:off x="1273773" y="1081670"/>
                <a:ext cx="1301246" cy="994296"/>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7" name="Freeform 16"/>
              <p:cNvSpPr/>
              <p:nvPr/>
            </p:nvSpPr>
            <p:spPr>
              <a:xfrm>
                <a:off x="2731848" y="1252690"/>
                <a:ext cx="4868415" cy="620123"/>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 name="Stream Analytics Power BI Job"/>
          <p:cNvGrpSpPr/>
          <p:nvPr/>
        </p:nvGrpSpPr>
        <p:grpSpPr>
          <a:xfrm>
            <a:off x="3854924" y="3401478"/>
            <a:ext cx="8225296" cy="850392"/>
            <a:chOff x="3515048" y="4762685"/>
            <a:chExt cx="8225296" cy="850392"/>
          </a:xfrm>
        </p:grpSpPr>
        <p:sp>
          <p:nvSpPr>
            <p:cNvPr id="19" name="Rectangle 18"/>
            <p:cNvSpPr/>
            <p:nvPr/>
          </p:nvSpPr>
          <p:spPr>
            <a:xfrm>
              <a:off x="3515048" y="4762685"/>
              <a:ext cx="8225296" cy="850392"/>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Freeform 1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1" name="TextBox 20"/>
            <p:cNvSpPr txBox="1"/>
            <p:nvPr/>
          </p:nvSpPr>
          <p:spPr>
            <a:xfrm>
              <a:off x="4596555" y="4812012"/>
              <a:ext cx="2097947"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job</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ream Analytics Job </a:t>
              </a:r>
            </a:p>
          </p:txBody>
        </p:sp>
      </p:grpSp>
      <p:grpSp>
        <p:nvGrpSpPr>
          <p:cNvPr id="22" name="Service Bus Namespace"/>
          <p:cNvGrpSpPr/>
          <p:nvPr/>
        </p:nvGrpSpPr>
        <p:grpSpPr>
          <a:xfrm>
            <a:off x="3856065" y="4355484"/>
            <a:ext cx="4921135" cy="2293443"/>
            <a:chOff x="3560611" y="2016836"/>
            <a:chExt cx="4921135" cy="2293443"/>
          </a:xfrm>
        </p:grpSpPr>
        <p:sp>
          <p:nvSpPr>
            <p:cNvPr id="23" name="Rectangle 22"/>
            <p:cNvSpPr/>
            <p:nvPr/>
          </p:nvSpPr>
          <p:spPr>
            <a:xfrm>
              <a:off x="3560611" y="2016836"/>
              <a:ext cx="4921135"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TextBox 23"/>
            <p:cNvSpPr txBox="1"/>
            <p:nvPr/>
          </p:nvSpPr>
          <p:spPr>
            <a:xfrm>
              <a:off x="4679715" y="2154919"/>
              <a:ext cx="231416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ns</a:t>
              </a:r>
              <a:r>
                <a:rPr lang="en-US" sz="1600" b="1" i="1" dirty="0">
                  <a:solidFill>
                    <a:srgbClr val="006FD4"/>
                  </a:solidFill>
                  <a:latin typeface="Segoe UI" panose="020B0502040204020203" pitchFamily="34" charset="0"/>
                  <a:cs typeface="Segoe UI" panose="020B0502040204020203" pitchFamily="34" charset="0"/>
                </a:rPr>
                <a:t> </a:t>
              </a:r>
              <a:br>
                <a:rPr lang="en-US" sz="1600" b="1" i="1" dirty="0">
                  <a:solidFill>
                    <a:srgbClr val="006FD4"/>
                  </a:solidFill>
                  <a:latin typeface="Segoe UI" panose="020B0502040204020203" pitchFamily="34" charset="0"/>
                  <a:cs typeface="Segoe UI" panose="020B0502040204020203" pitchFamily="34" charset="0"/>
                </a:rPr>
              </a:br>
              <a:r>
                <a:rPr lang="en-US" sz="1600" dirty="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25" name="Freeform 24"/>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6" name="DevceHub Event Hub"/>
          <p:cNvGrpSpPr/>
          <p:nvPr/>
        </p:nvGrpSpPr>
        <p:grpSpPr>
          <a:xfrm>
            <a:off x="3974769" y="5230898"/>
            <a:ext cx="4662045" cy="1299969"/>
            <a:chOff x="3330840" y="4304756"/>
            <a:chExt cx="4662045" cy="1299969"/>
          </a:xfrm>
        </p:grpSpPr>
        <p:sp>
          <p:nvSpPr>
            <p:cNvPr id="27" name="Rectangle 26"/>
            <p:cNvSpPr/>
            <p:nvPr/>
          </p:nvSpPr>
          <p:spPr>
            <a:xfrm>
              <a:off x="3330840" y="4304756"/>
              <a:ext cx="4662045"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TextBox 28"/>
            <p:cNvSpPr txBox="1"/>
            <p:nvPr/>
          </p:nvSpPr>
          <p:spPr>
            <a:xfrm>
              <a:off x="4369796" y="4668491"/>
              <a:ext cx="138211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hub</a:t>
              </a:r>
            </a:p>
            <a:p>
              <a:r>
                <a:rPr lang="en-US" sz="1600" dirty="0" err="1">
                  <a:solidFill>
                    <a:srgbClr val="006FD4"/>
                  </a:solidFill>
                  <a:latin typeface="Segoe UI" panose="020B0502040204020203" pitchFamily="34" charset="0"/>
                  <a:cs typeface="Segoe UI" panose="020B0502040204020203" pitchFamily="34" charset="0"/>
                </a:rPr>
                <a:t>IoT</a:t>
              </a:r>
              <a:r>
                <a:rPr lang="en-US" sz="1600" dirty="0">
                  <a:solidFill>
                    <a:srgbClr val="006FD4"/>
                  </a:solidFill>
                  <a:latin typeface="Segoe UI" panose="020B0502040204020203" pitchFamily="34" charset="0"/>
                  <a:cs typeface="Segoe UI" panose="020B0502040204020203" pitchFamily="34" charset="0"/>
                </a:rPr>
                <a: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30" name="Particle Cloud Send Arrow"/>
          <p:cNvSpPr/>
          <p:nvPr/>
        </p:nvSpPr>
        <p:spPr>
          <a:xfrm>
            <a:off x="3390686" y="5675096"/>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grpSp>
        <p:nvGrpSpPr>
          <p:cNvPr id="31" name="Power BI"/>
          <p:cNvGrpSpPr/>
          <p:nvPr/>
        </p:nvGrpSpPr>
        <p:grpSpPr>
          <a:xfrm>
            <a:off x="3854925" y="2451471"/>
            <a:ext cx="8225296" cy="847126"/>
            <a:chOff x="3619105" y="998724"/>
            <a:chExt cx="8225296" cy="847126"/>
          </a:xfrm>
        </p:grpSpPr>
        <p:sp>
          <p:nvSpPr>
            <p:cNvPr id="32" name="Rectangle 31"/>
            <p:cNvSpPr/>
            <p:nvPr/>
          </p:nvSpPr>
          <p:spPr>
            <a:xfrm>
              <a:off x="3619105" y="998724"/>
              <a:ext cx="8225296"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Box 32"/>
            <p:cNvSpPr txBox="1"/>
            <p:nvPr/>
          </p:nvSpPr>
          <p:spPr>
            <a:xfrm>
              <a:off x="4739068" y="1109156"/>
              <a:ext cx="1444626"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data</a:t>
              </a:r>
            </a:p>
            <a:p>
              <a:r>
                <a:rPr lang="en-US" sz="1600" dirty="0">
                  <a:solidFill>
                    <a:srgbClr val="006FD4"/>
                  </a:solidFill>
                  <a:latin typeface="Segoe UI" panose="020B0502040204020203" pitchFamily="34" charset="0"/>
                  <a:cs typeface="Segoe UI" panose="020B0502040204020203" pitchFamily="34" charset="0"/>
                </a:rPr>
                <a:t>SQL Database</a:t>
              </a:r>
            </a:p>
          </p:txBody>
        </p:sp>
      </p:grpSp>
      <p:sp>
        <p:nvSpPr>
          <p:cNvPr id="35" name="Stream Analytics Logging Arrow"/>
          <p:cNvSpPr/>
          <p:nvPr/>
        </p:nvSpPr>
        <p:spPr>
          <a:xfrm rot="16200000">
            <a:off x="10422111" y="4500267"/>
            <a:ext cx="161110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Logging</a:t>
            </a:r>
          </a:p>
        </p:txBody>
      </p:sp>
      <p:sp>
        <p:nvSpPr>
          <p:cNvPr id="36" name="Web Site Devices Listen Arrow"/>
          <p:cNvSpPr/>
          <p:nvPr/>
        </p:nvSpPr>
        <p:spPr>
          <a:xfrm rot="16200000">
            <a:off x="7477160" y="4500267"/>
            <a:ext cx="1611101"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eceive</a:t>
            </a:r>
          </a:p>
        </p:txBody>
      </p:sp>
      <p:sp>
        <p:nvSpPr>
          <p:cNvPr id="37" name="Stream Analytics Send Arrow"/>
          <p:cNvSpPr/>
          <p:nvPr/>
        </p:nvSpPr>
        <p:spPr>
          <a:xfrm rot="16200000">
            <a:off x="7845388" y="3168439"/>
            <a:ext cx="874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pic>
        <p:nvPicPr>
          <p:cNvPr id="40" name="Picture 39"/>
          <p:cNvPicPr>
            <a:picLocks noChangeAspect="1"/>
          </p:cNvPicPr>
          <p:nvPr/>
        </p:nvPicPr>
        <p:blipFill>
          <a:blip r:embed="rId2"/>
          <a:stretch>
            <a:fillRect/>
          </a:stretch>
        </p:blipFill>
        <p:spPr>
          <a:xfrm>
            <a:off x="1080371" y="1622840"/>
            <a:ext cx="2065372" cy="5258060"/>
          </a:xfrm>
          <a:prstGeom prst="rect">
            <a:avLst/>
          </a:prstGeom>
        </p:spPr>
      </p:pic>
      <p:pic>
        <p:nvPicPr>
          <p:cNvPr id="41" name="Picture 4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039130" y="2527562"/>
            <a:ext cx="694944" cy="694944"/>
          </a:xfrm>
          <a:prstGeom prst="rect">
            <a:avLst/>
          </a:prstGeom>
          <a:solidFill>
            <a:srgbClr val="006FD4"/>
          </a:solidFill>
        </p:spPr>
      </p:pic>
      <p:pic>
        <p:nvPicPr>
          <p:cNvPr id="42" name="Picture 41"/>
          <p:cNvPicPr>
            <a:picLocks noChangeAspect="1"/>
          </p:cNvPicPr>
          <p:nvPr/>
        </p:nvPicPr>
        <p:blipFill>
          <a:blip r:embed="rId4"/>
          <a:stretch>
            <a:fillRect/>
          </a:stretch>
        </p:blipFill>
        <p:spPr>
          <a:xfrm>
            <a:off x="4164700" y="5548133"/>
            <a:ext cx="676656" cy="676656"/>
          </a:xfrm>
          <a:prstGeom prst="rect">
            <a:avLst/>
          </a:prstGeom>
        </p:spPr>
      </p:pic>
    </p:spTree>
    <p:extLst>
      <p:ext uri="{BB962C8B-B14F-4D97-AF65-F5344CB8AC3E}">
        <p14:creationId xmlns:p14="http://schemas.microsoft.com/office/powerpoint/2010/main" val="24920352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Text Placeholder 4"/>
          <p:cNvSpPr>
            <a:spLocks noGrp="1"/>
          </p:cNvSpPr>
          <p:nvPr>
            <p:ph type="body" sz="quarter" idx="12"/>
          </p:nvPr>
        </p:nvSpPr>
        <p:spPr/>
        <p:txBody>
          <a:bodyPr/>
          <a:lstStyle/>
          <a:p>
            <a:r>
              <a:rPr lang="en-US" dirty="0"/>
              <a:t>Create an </a:t>
            </a:r>
            <a:r>
              <a:rPr lang="en-US" dirty="0" err="1"/>
              <a:t>IoT</a:t>
            </a:r>
            <a:r>
              <a:rPr lang="en-US" dirty="0"/>
              <a:t> Hub</a:t>
            </a:r>
          </a:p>
        </p:txBody>
      </p:sp>
    </p:spTree>
    <p:extLst>
      <p:ext uri="{BB962C8B-B14F-4D97-AF65-F5344CB8AC3E}">
        <p14:creationId xmlns:p14="http://schemas.microsoft.com/office/powerpoint/2010/main" val="148993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 More</a:t>
            </a:r>
          </a:p>
        </p:txBody>
      </p:sp>
      <p:sp>
        <p:nvSpPr>
          <p:cNvPr id="3" name="Content Placeholder 2"/>
          <p:cNvSpPr>
            <a:spLocks noGrp="1"/>
          </p:cNvSpPr>
          <p:nvPr>
            <p:ph idx="1"/>
          </p:nvPr>
        </p:nvSpPr>
        <p:spPr>
          <a:xfrm>
            <a:off x="2043715" y="1861968"/>
            <a:ext cx="10300935" cy="4437962"/>
          </a:xfrm>
        </p:spPr>
        <p:txBody>
          <a:bodyPr>
            <a:normAutofit/>
          </a:bodyPr>
          <a:lstStyle/>
          <a:p>
            <a:pPr marL="0" indent="0">
              <a:buNone/>
            </a:pPr>
            <a:r>
              <a:rPr lang="en-US" dirty="0"/>
              <a:t>Build 2016 Sessions</a:t>
            </a:r>
          </a:p>
          <a:p>
            <a:pPr marL="0" indent="0">
              <a:buNone/>
            </a:pPr>
            <a:r>
              <a:rPr lang="en-US" dirty="0"/>
              <a:t>https://channel9.msdn.com/Events/Build/2016/</a:t>
            </a:r>
          </a:p>
          <a:p>
            <a:pPr marL="0" indent="0">
              <a:buNone/>
            </a:pPr>
            <a:endParaRPr lang="en-US" dirty="0"/>
          </a:p>
          <a:p>
            <a:pPr marL="0" indent="0">
              <a:buNone/>
            </a:pPr>
            <a:r>
              <a:rPr lang="en-US" dirty="0"/>
              <a:t>Azure Documentation</a:t>
            </a:r>
          </a:p>
          <a:p>
            <a:pPr marL="0" indent="0">
              <a:buNone/>
            </a:pPr>
            <a:r>
              <a:rPr lang="en-US" dirty="0"/>
              <a:t>https://azure.microsoft.com/en-us/documentation/suites/iot-suite/</a:t>
            </a:r>
          </a:p>
          <a:p>
            <a:pPr marL="0" indent="0">
              <a:buNone/>
            </a:pPr>
            <a:endParaRPr lang="en-US" dirty="0"/>
          </a:p>
          <a:p>
            <a:pPr marL="0" indent="0">
              <a:buNone/>
            </a:pPr>
            <a:r>
              <a:rPr lang="en-US" dirty="0" err="1"/>
              <a:t>Hackster</a:t>
            </a:r>
            <a:r>
              <a:rPr lang="en-US" dirty="0"/>
              <a:t> </a:t>
            </a:r>
            <a:r>
              <a:rPr lang="en-US" dirty="0" err="1"/>
              <a:t>IoT</a:t>
            </a:r>
            <a:r>
              <a:rPr lang="en-US" dirty="0"/>
              <a:t> Meetup</a:t>
            </a:r>
          </a:p>
          <a:p>
            <a:pPr marL="0" indent="0">
              <a:buNone/>
            </a:pPr>
            <a:r>
              <a:rPr lang="en-US" dirty="0"/>
              <a:t>http://www.meetup.com/Hackster-Raleigh/</a:t>
            </a:r>
          </a:p>
        </p:txBody>
      </p:sp>
      <p:pic>
        <p:nvPicPr>
          <p:cNvPr id="134146" name="Picture 2" descr="https://build.microsoft.com/img/logo-build-sma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008" y="1724346"/>
            <a:ext cx="1188707" cy="1188707"/>
          </a:xfrm>
          <a:prstGeom prst="rect">
            <a:avLst/>
          </a:prstGeom>
          <a:solidFill>
            <a:srgbClr val="0072C6"/>
          </a:solidFill>
        </p:spPr>
      </p:pic>
      <p:pic>
        <p:nvPicPr>
          <p:cNvPr id="5" name="Picture 4"/>
          <p:cNvPicPr>
            <a:picLocks noChangeAspect="1"/>
          </p:cNvPicPr>
          <p:nvPr/>
        </p:nvPicPr>
        <p:blipFill>
          <a:blip r:embed="rId3"/>
          <a:stretch>
            <a:fillRect/>
          </a:stretch>
        </p:blipFill>
        <p:spPr>
          <a:xfrm>
            <a:off x="873280" y="3314384"/>
            <a:ext cx="1170435" cy="1170435"/>
          </a:xfrm>
          <a:prstGeom prst="rect">
            <a:avLst/>
          </a:prstGeom>
        </p:spPr>
      </p:pic>
      <p:pic>
        <p:nvPicPr>
          <p:cNvPr id="134154" name="Picture 10" descr="http://photos2.meetupstatic.com/photos/event/4/2/6/highres_147421062.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280" y="5051725"/>
            <a:ext cx="1170435" cy="777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5489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t>
            </a:r>
            <a:r>
              <a:rPr lang="en-US" dirty="0" err="1"/>
              <a:t>IoT</a:t>
            </a:r>
            <a:r>
              <a:rPr lang="en-US" dirty="0"/>
              <a:t>?</a:t>
            </a:r>
          </a:p>
        </p:txBody>
      </p:sp>
      <p:sp>
        <p:nvSpPr>
          <p:cNvPr id="3" name="Content Placeholder 2"/>
          <p:cNvSpPr>
            <a:spLocks noGrp="1"/>
          </p:cNvSpPr>
          <p:nvPr>
            <p:ph idx="1"/>
          </p:nvPr>
        </p:nvSpPr>
        <p:spPr>
          <a:xfrm>
            <a:off x="2286360" y="1861968"/>
            <a:ext cx="9295108" cy="4437962"/>
          </a:xfrm>
        </p:spPr>
        <p:txBody>
          <a:bodyPr/>
          <a:lstStyle/>
          <a:p>
            <a:pPr marL="0" indent="0">
              <a:buNone/>
            </a:pPr>
            <a:r>
              <a:rPr lang="en-US" dirty="0"/>
              <a:t>The Internet of Things (</a:t>
            </a:r>
            <a:r>
              <a:rPr lang="en-US" dirty="0" err="1"/>
              <a:t>IoT</a:t>
            </a:r>
            <a:r>
              <a:rPr lang="en-US" dirty="0"/>
              <a:t>) is the network of physical objects - devices, vehicles, buildings and other items - embedded with electronics, software, sensors, and network connectivity that enables these objects to collect and exchange data.</a:t>
            </a:r>
          </a:p>
        </p:txBody>
      </p:sp>
      <p:sp>
        <p:nvSpPr>
          <p:cNvPr id="6" name="Footer Placeholder 4"/>
          <p:cNvSpPr txBox="1">
            <a:spLocks/>
          </p:cNvSpPr>
          <p:nvPr/>
        </p:nvSpPr>
        <p:spPr>
          <a:xfrm>
            <a:off x="2286360" y="6622131"/>
            <a:ext cx="10150115" cy="372394"/>
          </a:xfrm>
          <a:prstGeom prst="rect">
            <a:avLst/>
          </a:prstGeom>
        </p:spPr>
        <p:txBody>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600" dirty="0">
                <a:solidFill>
                  <a:schemeClr val="bg1">
                    <a:lumMod val="65000"/>
                  </a:schemeClr>
                </a:solidFill>
              </a:rPr>
              <a:t>Source: https://en.wikipedia.org/wiki/Internet_of_Things, http://www.gartner.com/newsroom/id/3165317</a:t>
            </a:r>
          </a:p>
        </p:txBody>
      </p:sp>
      <p:sp>
        <p:nvSpPr>
          <p:cNvPr id="7" name="Title 2"/>
          <p:cNvSpPr txBox="1">
            <a:spLocks/>
          </p:cNvSpPr>
          <p:nvPr/>
        </p:nvSpPr>
        <p:spPr>
          <a:xfrm>
            <a:off x="2286360" y="3954457"/>
            <a:ext cx="9295107" cy="1828801"/>
          </a:xfrm>
          <a:prstGeom prst="rect">
            <a:avLst/>
          </a:prstGeom>
        </p:spPr>
        <p:txBody>
          <a:bodyPr vert="horz" lIns="91440" tIns="45720" rIns="91440" bIns="45720" rtlCol="0" anchor="ctr">
            <a:norm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fontAlgn="auto">
              <a:spcAft>
                <a:spcPts val="0"/>
              </a:spcAft>
            </a:pPr>
            <a:r>
              <a:rPr lang="en-US" dirty="0"/>
              <a:t>20,800,000,000 Things</a:t>
            </a:r>
            <a:br>
              <a:rPr lang="en-US" dirty="0"/>
            </a:br>
            <a:r>
              <a:rPr lang="en-US" dirty="0"/>
              <a:t>By 2020</a:t>
            </a:r>
          </a:p>
        </p:txBody>
      </p:sp>
      <p:pic>
        <p:nvPicPr>
          <p:cNvPr id="8" name="Picture 7"/>
          <p:cNvPicPr>
            <a:picLocks noChangeAspect="1"/>
          </p:cNvPicPr>
          <p:nvPr/>
        </p:nvPicPr>
        <p:blipFill>
          <a:blip r:embed="rId3"/>
          <a:stretch>
            <a:fillRect/>
          </a:stretch>
        </p:blipFill>
        <p:spPr>
          <a:xfrm>
            <a:off x="617076" y="1907604"/>
            <a:ext cx="1498219" cy="1498219"/>
          </a:xfrm>
          <a:prstGeom prst="rect">
            <a:avLst/>
          </a:prstGeom>
        </p:spPr>
      </p:pic>
    </p:spTree>
    <p:extLst>
      <p:ext uri="{BB962C8B-B14F-4D97-AF65-F5344CB8AC3E}">
        <p14:creationId xmlns:p14="http://schemas.microsoft.com/office/powerpoint/2010/main" val="5893884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a:t>
            </a:r>
            <a:r>
              <a:rPr lang="en-US" dirty="0" err="1"/>
              <a:t>IoT</a:t>
            </a:r>
            <a:r>
              <a:rPr lang="en-US" dirty="0"/>
              <a:t> Strategy</a:t>
            </a:r>
          </a:p>
        </p:txBody>
      </p:sp>
      <p:graphicFrame>
        <p:nvGraphicFramePr>
          <p:cNvPr id="5" name="Table 4"/>
          <p:cNvGraphicFramePr>
            <a:graphicFrameLocks noGrp="1"/>
          </p:cNvGraphicFramePr>
          <p:nvPr>
            <p:extLst>
              <p:ext uri="{D42A27DB-BD31-4B8C-83A1-F6EECF244321}">
                <p14:modId xmlns:p14="http://schemas.microsoft.com/office/powerpoint/2010/main" val="1112858473"/>
              </p:ext>
            </p:extLst>
          </p:nvPr>
        </p:nvGraphicFramePr>
        <p:xfrm>
          <a:off x="451100" y="2442494"/>
          <a:ext cx="5212291" cy="4324840"/>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solidFill>
                          <a:schemeClr val="tx1"/>
                        </a:solidFill>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40080">
                <a:tc>
                  <a:txBody>
                    <a:bodyPr/>
                    <a:lstStyle/>
                    <a:p>
                      <a:endParaRPr lang="en-US"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84552">
                <a:tc>
                  <a:txBody>
                    <a:bodyPr/>
                    <a:lstStyle/>
                    <a:p>
                      <a:r>
                        <a:rPr lang="en-US" b="1" dirty="0">
                          <a:solidFill>
                            <a:schemeClr val="tx1"/>
                          </a:solidFill>
                        </a:rPr>
                        <a:t>IoT Editions Power </a:t>
                      </a:r>
                      <a:r>
                        <a:rPr lang="en-US" b="1" baseline="0" dirty="0">
                          <a:solidFill>
                            <a:schemeClr val="tx1"/>
                          </a:solidFill>
                        </a:rPr>
                        <a:t>a Broad Range of Devices</a:t>
                      </a:r>
                      <a:endParaRPr lang="en-US" b="1"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84552">
                <a:tc>
                  <a:txBody>
                    <a:bodyPr/>
                    <a:lstStyle/>
                    <a:p>
                      <a:r>
                        <a:rPr lang="en-US" sz="1800" dirty="0">
                          <a:solidFill>
                            <a:schemeClr val="tx1"/>
                          </a:solidFill>
                        </a:rPr>
                        <a:t>25 years of history in embedded devices</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84552">
                <a:tc>
                  <a:txBody>
                    <a:bodyPr/>
                    <a:lstStyle/>
                    <a:p>
                      <a:r>
                        <a:rPr lang="en-US" sz="1800" dirty="0">
                          <a:solidFill>
                            <a:schemeClr val="tx1"/>
                          </a:solidFill>
                        </a:rPr>
                        <a:t>One</a:t>
                      </a:r>
                      <a:r>
                        <a:rPr lang="en-US" sz="1800" baseline="0" dirty="0">
                          <a:solidFill>
                            <a:schemeClr val="tx1"/>
                          </a:solidFill>
                        </a:rPr>
                        <a:t> Windows platform for all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84552">
                <a:tc>
                  <a:txBody>
                    <a:bodyPr/>
                    <a:lstStyle/>
                    <a:p>
                      <a:r>
                        <a:rPr lang="en-US" sz="1800" dirty="0">
                          <a:solidFill>
                            <a:schemeClr val="tx1"/>
                          </a:solidFill>
                        </a:rPr>
                        <a:t>Enterprise</a:t>
                      </a:r>
                      <a:r>
                        <a:rPr lang="en-US" sz="1800" baseline="0" dirty="0">
                          <a:solidFill>
                            <a:schemeClr val="tx1"/>
                          </a:solidFill>
                        </a:rPr>
                        <a:t>-ready, OEM-ready, Maker-friendly</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84552">
                <a:tc>
                  <a:txBody>
                    <a:bodyPr/>
                    <a:lstStyle/>
                    <a:p>
                      <a:r>
                        <a:rPr lang="en-US" sz="1800" dirty="0">
                          <a:solidFill>
                            <a:schemeClr val="tx1"/>
                          </a:solidFill>
                        </a:rPr>
                        <a:t>Designed</a:t>
                      </a:r>
                      <a:r>
                        <a:rPr lang="en-US" sz="1800" baseline="0" dirty="0">
                          <a:solidFill>
                            <a:schemeClr val="tx1"/>
                          </a:solidFill>
                        </a:rPr>
                        <a:t> for today’s IoT environment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84552">
                <a:tc>
                  <a:txBody>
                    <a:bodyPr/>
                    <a:lstStyle/>
                    <a:p>
                      <a:r>
                        <a:rPr lang="en-US" sz="1800" dirty="0">
                          <a:solidFill>
                            <a:schemeClr val="tx1"/>
                          </a:solidFill>
                        </a:rPr>
                        <a:t>Scalable solutions</a:t>
                      </a:r>
                      <a:r>
                        <a:rPr lang="en-US" sz="1800" baseline="0" dirty="0">
                          <a:solidFill>
                            <a:schemeClr val="tx1"/>
                          </a:solidFill>
                        </a:rPr>
                        <a:t> from f</a:t>
                      </a:r>
                      <a:r>
                        <a:rPr lang="en-US" sz="1800" dirty="0">
                          <a:solidFill>
                            <a:schemeClr val="tx1"/>
                          </a:solidFill>
                        </a:rPr>
                        <a:t>ree Windows IoT Core </a:t>
                      </a:r>
                      <a:r>
                        <a:rPr lang="en-US" sz="1800" baseline="0" dirty="0">
                          <a:solidFill>
                            <a:schemeClr val="tx1"/>
                          </a:solidFill>
                        </a:rPr>
                        <a:t>to Windows IoT Enterprise on PC-Like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6349190" y="2442494"/>
          <a:ext cx="5355447" cy="4229598"/>
        </p:xfrm>
        <a:graphic>
          <a:graphicData uri="http://schemas.openxmlformats.org/drawingml/2006/table">
            <a:tbl>
              <a:tblPr firstRow="1" bandRow="1">
                <a:tableStyleId>{5C22544A-7EE6-4342-B048-85BDC9FD1C3A}</a:tableStyleId>
              </a:tblPr>
              <a:tblGrid>
                <a:gridCol w="5355447">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640080">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7933">
                <a:tc>
                  <a:txBody>
                    <a:bodyPr/>
                    <a:lstStyle/>
                    <a:p>
                      <a:r>
                        <a:rPr lang="en-US" b="1" dirty="0"/>
                        <a:t>Cloud</a:t>
                      </a:r>
                      <a:r>
                        <a:rPr lang="en-US" b="1" baseline="0" dirty="0"/>
                        <a:t>-Based IoT Services &amp; Solutions</a:t>
                      </a:r>
                      <a:endParaRPr lang="en-US" b="1"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asy to provision, use and manag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Pay as you go, scale as you need</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Global reach, hyper scal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nd-to-end security &amp; privacy</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Windows,</a:t>
                      </a:r>
                      <a:r>
                        <a:rPr lang="en-US" sz="1800" baseline="0" dirty="0"/>
                        <a:t> </a:t>
                      </a:r>
                      <a:r>
                        <a:rPr lang="en-US" sz="1800" baseline="0" dirty="0" err="1"/>
                        <a:t>Mbed</a:t>
                      </a:r>
                      <a:r>
                        <a:rPr lang="en-US" sz="1800" baseline="0" dirty="0"/>
                        <a:t>, Linux, iOS, Android, RTOS support</a:t>
                      </a:r>
                      <a:endParaRPr lang="en-US" sz="1800" dirty="0"/>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7" name="Group 6"/>
          <p:cNvGrpSpPr/>
          <p:nvPr/>
        </p:nvGrpSpPr>
        <p:grpSpPr>
          <a:xfrm>
            <a:off x="6246252" y="1577043"/>
            <a:ext cx="2285999" cy="1534886"/>
            <a:chOff x="5913437" y="1818520"/>
            <a:chExt cx="2285999" cy="1534886"/>
          </a:xfrm>
        </p:grpSpPr>
        <p:sp>
          <p:nvSpPr>
            <p:cNvPr id="8" name="Freeform 7"/>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9" name="Freeform 8"/>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3600" b="0" i="0" u="none" strike="noStrike" kern="1200" cap="none" spc="-150" normalizeH="0" baseline="0" noProof="0" dirty="0">
                  <a:ln>
                    <a:noFill/>
                  </a:ln>
                  <a:solidFill>
                    <a:srgbClr val="FFFFFF"/>
                  </a:solidFill>
                  <a:effectLst/>
                  <a:uLnTx/>
                  <a:uFillTx/>
                  <a:latin typeface="Segoe UI Light"/>
                  <a:ea typeface="+mn-ea"/>
                  <a:cs typeface="+mn-cs"/>
                </a:rPr>
                <a:t>Azure </a:t>
              </a:r>
              <a:r>
                <a:rPr kumimoji="0" lang="en-US" sz="3600" b="0" i="0" u="none" strike="noStrike" kern="1200" cap="none" spc="-150" normalizeH="0" baseline="0" noProof="0" dirty="0" err="1">
                  <a:ln>
                    <a:noFill/>
                  </a:ln>
                  <a:solidFill>
                    <a:srgbClr val="FFFFFF"/>
                  </a:solidFill>
                  <a:effectLst/>
                  <a:uLnTx/>
                  <a:uFillTx/>
                  <a:latin typeface="Segoe UI Light"/>
                  <a:ea typeface="+mn-ea"/>
                  <a:cs typeface="+mn-cs"/>
                </a:rPr>
                <a:t>IoT</a:t>
              </a:r>
              <a:endParaRPr kumimoji="0" lang="en-US" sz="3600" b="0" i="0" u="none" strike="noStrike" kern="1200" cap="none" spc="-150" normalizeH="0" baseline="0" noProof="0" dirty="0">
                <a:ln>
                  <a:noFill/>
                </a:ln>
                <a:solidFill>
                  <a:srgbClr val="FFFFFF"/>
                </a:solidFill>
                <a:effectLst/>
                <a:uLnTx/>
                <a:uFillTx/>
                <a:latin typeface="Segoe UI Light"/>
                <a:ea typeface="+mn-ea"/>
                <a:cs typeface="+mn-cs"/>
              </a:endParaRPr>
            </a:p>
          </p:txBody>
        </p:sp>
      </p:grpSp>
      <p:sp>
        <p:nvSpPr>
          <p:cNvPr id="10" name="Rectangle 9"/>
          <p:cNvSpPr/>
          <p:nvPr/>
        </p:nvSpPr>
        <p:spPr bwMode="auto">
          <a:xfrm>
            <a:off x="313316" y="2051805"/>
            <a:ext cx="3847522" cy="7620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12"/>
          <p:cNvSpPr>
            <a:spLocks noChangeAspect="1" noEditPoints="1"/>
          </p:cNvSpPr>
          <p:nvPr/>
        </p:nvSpPr>
        <p:spPr bwMode="black">
          <a:xfrm>
            <a:off x="457200" y="2006085"/>
            <a:ext cx="3620760" cy="807720"/>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269362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p:cNvSpPr>
            <a:spLocks noGrp="1"/>
          </p:cNvSpPr>
          <p:nvPr/>
        </p:nvSpPr>
        <p:spPr>
          <a:xfrm>
            <a:off x="273456" y="175890"/>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indows 10 </a:t>
            </a:r>
            <a:r>
              <a:rPr lang="en-US" dirty="0" err="1"/>
              <a:t>IoT</a:t>
            </a:r>
            <a:r>
              <a:rPr lang="en-US" dirty="0"/>
              <a:t> Editions</a:t>
            </a:r>
          </a:p>
        </p:txBody>
      </p:sp>
      <p:sp>
        <p:nvSpPr>
          <p:cNvPr id="71" name="Rectangle 70"/>
          <p:cNvSpPr/>
          <p:nvPr/>
        </p:nvSpPr>
        <p:spPr bwMode="auto">
          <a:xfrm>
            <a:off x="2090622" y="952502"/>
            <a:ext cx="8410014" cy="5498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2" name="Rectangle 71"/>
          <p:cNvSpPr/>
          <p:nvPr/>
        </p:nvSpPr>
        <p:spPr bwMode="auto">
          <a:xfrm>
            <a:off x="2088816" y="2056146"/>
            <a:ext cx="5977452" cy="4391240"/>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3" name="Rectangle 72"/>
          <p:cNvSpPr/>
          <p:nvPr/>
        </p:nvSpPr>
        <p:spPr bwMode="auto">
          <a:xfrm>
            <a:off x="2081884" y="3263619"/>
            <a:ext cx="3941058" cy="318566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4" name="Rectangle 73"/>
          <p:cNvSpPr/>
          <p:nvPr/>
        </p:nvSpPr>
        <p:spPr>
          <a:xfrm>
            <a:off x="2598772" y="1075496"/>
            <a:ext cx="4606070"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Enterprise LTSB]</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Desktop Shell, Win32 apps,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 GB RAM, 16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a:t>
            </a:r>
          </a:p>
        </p:txBody>
      </p:sp>
      <p:sp>
        <p:nvSpPr>
          <p:cNvPr id="75" name="Rectangle 74"/>
          <p:cNvSpPr/>
          <p:nvPr/>
        </p:nvSpPr>
        <p:spPr>
          <a:xfrm>
            <a:off x="2597128" y="2198334"/>
            <a:ext cx="5064515"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Mobile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Mobile Enterprise]</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Modern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1 GB RAM, 8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ARM</a:t>
            </a:r>
          </a:p>
        </p:txBody>
      </p:sp>
      <p:sp>
        <p:nvSpPr>
          <p:cNvPr id="76" name="Rectangle 75"/>
          <p:cNvSpPr/>
          <p:nvPr/>
        </p:nvSpPr>
        <p:spPr>
          <a:xfrm>
            <a:off x="2562535" y="3425424"/>
            <a:ext cx="2869161" cy="1077731"/>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Segoe UI Light"/>
                <a:ea typeface="+mn-ea"/>
                <a:cs typeface="+mn-cs"/>
              </a:rPr>
              <a:t>Windows 10 IoT Cor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No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56MB RAM, 2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 or ARM</a:t>
            </a:r>
          </a:p>
          <a:p>
            <a:pPr marL="0" marR="0" lvl="0" indent="0" algn="l" defTabSz="932475" rtl="0" eaLnBrk="1" fontAlgn="auto" latinLnBrk="0" hangingPunct="1">
              <a:lnSpc>
                <a:spcPct val="100000"/>
              </a:lnSpc>
              <a:spcBef>
                <a:spcPts val="0"/>
              </a:spcBef>
              <a:spcAft>
                <a:spcPts val="408"/>
              </a:spcAft>
              <a:buClrTx/>
              <a:buSzTx/>
              <a:buFontTx/>
              <a:buNone/>
              <a:tabLst/>
              <a:defRPr/>
            </a:pPr>
            <a:endParaRPr kumimoji="0" lang="en-US" sz="1020" b="0" i="0" u="none" strike="noStrike" kern="0" cap="none" spc="0" normalizeH="0" baseline="0" noProof="0" dirty="0">
              <a:ln>
                <a:noFill/>
              </a:ln>
              <a:solidFill>
                <a:prstClr val="black"/>
              </a:solidFill>
              <a:effectLst/>
              <a:uLnTx/>
              <a:uFillTx/>
              <a:latin typeface="Segoe UI Light"/>
              <a:ea typeface="+mn-ea"/>
              <a:cs typeface="+mn-cs"/>
            </a:endParaRPr>
          </a:p>
        </p:txBody>
      </p:sp>
      <p:sp>
        <p:nvSpPr>
          <p:cNvPr id="77" name="Rectangle 25"/>
          <p:cNvSpPr>
            <a:spLocks noChangeAspect="1"/>
          </p:cNvSpPr>
          <p:nvPr/>
        </p:nvSpPr>
        <p:spPr bwMode="auto">
          <a:xfrm>
            <a:off x="6983937" y="4749828"/>
            <a:ext cx="540834" cy="374566"/>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18285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78" name="Rectangle 35"/>
          <p:cNvSpPr>
            <a:spLocks noChangeAspect="1"/>
          </p:cNvSpPr>
          <p:nvPr/>
        </p:nvSpPr>
        <p:spPr bwMode="auto">
          <a:xfrm>
            <a:off x="9330560" y="1378948"/>
            <a:ext cx="871331" cy="541019"/>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9" name="Rounded Rectangle 4"/>
          <p:cNvSpPr>
            <a:spLocks noChangeAspect="1"/>
          </p:cNvSpPr>
          <p:nvPr/>
        </p:nvSpPr>
        <p:spPr bwMode="auto">
          <a:xfrm>
            <a:off x="9602185" y="2229651"/>
            <a:ext cx="375093" cy="709210"/>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0" name="Rectangle 19"/>
          <p:cNvSpPr>
            <a:spLocks noChangeAspect="1"/>
          </p:cNvSpPr>
          <p:nvPr/>
        </p:nvSpPr>
        <p:spPr bwMode="auto">
          <a:xfrm>
            <a:off x="9698036" y="3260439"/>
            <a:ext cx="629435" cy="618188"/>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1" name="Rectangle 34"/>
          <p:cNvSpPr>
            <a:spLocks noChangeAspect="1"/>
          </p:cNvSpPr>
          <p:nvPr/>
        </p:nvSpPr>
        <p:spPr bwMode="auto">
          <a:xfrm>
            <a:off x="6410452" y="4009035"/>
            <a:ext cx="348963" cy="613784"/>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82" name="Rectangle 12"/>
          <p:cNvSpPr>
            <a:spLocks noChangeArrowheads="1"/>
          </p:cNvSpPr>
          <p:nvPr/>
        </p:nvSpPr>
        <p:spPr bwMode="auto">
          <a:xfrm>
            <a:off x="8447582" y="5583546"/>
            <a:ext cx="531660" cy="709476"/>
          </a:xfrm>
          <a:custGeom>
            <a:avLst/>
            <a:gdLst/>
            <a:ahLst/>
            <a:cxnLst/>
            <a:rect l="l" t="t" r="r" b="b"/>
            <a:pathLst>
              <a:path w="2212183" h="3558139">
                <a:moveTo>
                  <a:pt x="173247" y="1026133"/>
                </a:moveTo>
                <a:lnTo>
                  <a:pt x="173247" y="1812392"/>
                </a:lnTo>
                <a:lnTo>
                  <a:pt x="439774" y="1812392"/>
                </a:lnTo>
                <a:lnTo>
                  <a:pt x="866217" y="1812392"/>
                </a:lnTo>
                <a:lnTo>
                  <a:pt x="1159397" y="1812392"/>
                </a:lnTo>
                <a:lnTo>
                  <a:pt x="1159397" y="1453786"/>
                </a:lnTo>
                <a:lnTo>
                  <a:pt x="1159397" y="1451499"/>
                </a:lnTo>
                <a:lnTo>
                  <a:pt x="1159397" y="1026133"/>
                </a:lnTo>
                <a:lnTo>
                  <a:pt x="613012" y="1026133"/>
                </a:lnTo>
                <a:lnTo>
                  <a:pt x="439774" y="1026133"/>
                </a:lnTo>
                <a:close/>
                <a:moveTo>
                  <a:pt x="0" y="772928"/>
                </a:moveTo>
                <a:lnTo>
                  <a:pt x="1332635" y="772928"/>
                </a:lnTo>
                <a:lnTo>
                  <a:pt x="1332635" y="3558139"/>
                </a:lnTo>
                <a:lnTo>
                  <a:pt x="0" y="3558139"/>
                </a:lnTo>
                <a:close/>
                <a:moveTo>
                  <a:pt x="439774" y="398713"/>
                </a:moveTo>
                <a:lnTo>
                  <a:pt x="1772409" y="398713"/>
                </a:lnTo>
                <a:lnTo>
                  <a:pt x="1772409" y="3197246"/>
                </a:lnTo>
                <a:lnTo>
                  <a:pt x="1399271" y="3197246"/>
                </a:lnTo>
                <a:lnTo>
                  <a:pt x="1399271" y="1451499"/>
                </a:lnTo>
                <a:lnTo>
                  <a:pt x="1612493" y="1451499"/>
                </a:lnTo>
                <a:lnTo>
                  <a:pt x="1612493" y="651918"/>
                </a:lnTo>
                <a:lnTo>
                  <a:pt x="613012" y="651918"/>
                </a:lnTo>
                <a:lnTo>
                  <a:pt x="613012" y="731876"/>
                </a:lnTo>
                <a:lnTo>
                  <a:pt x="439774" y="731876"/>
                </a:lnTo>
                <a:close/>
                <a:moveTo>
                  <a:pt x="866217" y="0"/>
                </a:moveTo>
                <a:lnTo>
                  <a:pt x="2212183" y="0"/>
                </a:lnTo>
                <a:lnTo>
                  <a:pt x="2212183" y="2798533"/>
                </a:lnTo>
                <a:lnTo>
                  <a:pt x="1852367" y="2798533"/>
                </a:lnTo>
                <a:lnTo>
                  <a:pt x="1852367" y="1052785"/>
                </a:lnTo>
                <a:lnTo>
                  <a:pt x="2038936" y="1052785"/>
                </a:lnTo>
                <a:lnTo>
                  <a:pt x="2038936" y="253204"/>
                </a:lnTo>
                <a:lnTo>
                  <a:pt x="1052786" y="253204"/>
                </a:lnTo>
                <a:lnTo>
                  <a:pt x="1052786" y="306510"/>
                </a:lnTo>
                <a:lnTo>
                  <a:pt x="866217" y="306510"/>
                </a:lnTo>
                <a:close/>
              </a:path>
            </a:pathLst>
          </a:custGeom>
          <a:solidFill>
            <a:schemeClr val="bg1"/>
          </a:solid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83" name="Freeform 82"/>
          <p:cNvSpPr>
            <a:spLocks noChangeAspect="1"/>
          </p:cNvSpPr>
          <p:nvPr/>
        </p:nvSpPr>
        <p:spPr bwMode="auto">
          <a:xfrm>
            <a:off x="8467074" y="2773256"/>
            <a:ext cx="645434" cy="374896"/>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nvGrpSpPr>
          <p:cNvPr id="84" name="Group 83"/>
          <p:cNvGrpSpPr/>
          <p:nvPr/>
        </p:nvGrpSpPr>
        <p:grpSpPr>
          <a:xfrm>
            <a:off x="7359912" y="1399881"/>
            <a:ext cx="652236" cy="498997"/>
            <a:chOff x="-3648455" y="2506228"/>
            <a:chExt cx="3192462" cy="2536826"/>
          </a:xfrm>
          <a:solidFill>
            <a:schemeClr val="bg1"/>
          </a:solidFill>
        </p:grpSpPr>
        <p:sp>
          <p:nvSpPr>
            <p:cNvPr id="126" name="Freeform 125"/>
            <p:cNvSpPr>
              <a:spLocks noEditPoints="1"/>
            </p:cNvSpPr>
            <p:nvPr/>
          </p:nvSpPr>
          <p:spPr bwMode="auto">
            <a:xfrm>
              <a:off x="-1984754" y="2637993"/>
              <a:ext cx="573089"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7" name="Oval 12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8" name="Freeform 127"/>
            <p:cNvSpPr>
              <a:spLocks noEditPoints="1"/>
            </p:cNvSpPr>
            <p:nvPr/>
          </p:nvSpPr>
          <p:spPr bwMode="auto">
            <a:xfrm>
              <a:off x="-3648455" y="2506228"/>
              <a:ext cx="782637" cy="784226"/>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9" name="Oval 12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0" name="Freeform 12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1" name="Freeform 130"/>
            <p:cNvSpPr>
              <a:spLocks/>
            </p:cNvSpPr>
            <p:nvPr/>
          </p:nvSpPr>
          <p:spPr bwMode="auto">
            <a:xfrm>
              <a:off x="-3448430" y="4371541"/>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2" name="Freeform 131"/>
            <p:cNvSpPr>
              <a:spLocks/>
            </p:cNvSpPr>
            <p:nvPr/>
          </p:nvSpPr>
          <p:spPr bwMode="auto">
            <a:xfrm>
              <a:off x="-3313495" y="3246002"/>
              <a:ext cx="1009652" cy="1004890"/>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3" name="Freeform 13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Freeform 133"/>
            <p:cNvSpPr>
              <a:spLocks/>
            </p:cNvSpPr>
            <p:nvPr/>
          </p:nvSpPr>
          <p:spPr bwMode="auto">
            <a:xfrm>
              <a:off x="-1660903" y="3131703"/>
              <a:ext cx="877888" cy="95726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85" name="Rectangle 400"/>
          <p:cNvSpPr/>
          <p:nvPr/>
        </p:nvSpPr>
        <p:spPr bwMode="auto">
          <a:xfrm>
            <a:off x="6370827" y="5572124"/>
            <a:ext cx="531995" cy="474041"/>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61" tIns="34280" rIns="34280" bIns="6856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5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86" name="Group 85"/>
          <p:cNvGrpSpPr/>
          <p:nvPr/>
        </p:nvGrpSpPr>
        <p:grpSpPr>
          <a:xfrm>
            <a:off x="8454710" y="3569070"/>
            <a:ext cx="642932" cy="753614"/>
            <a:chOff x="12849225" y="227013"/>
            <a:chExt cx="3357563" cy="5561012"/>
          </a:xfrm>
          <a:solidFill>
            <a:schemeClr val="bg1"/>
          </a:solidFill>
        </p:grpSpPr>
        <p:sp>
          <p:nvSpPr>
            <p:cNvPr id="122" name="Freeform 121"/>
            <p:cNvSpPr>
              <a:spLocks noEditPoints="1"/>
            </p:cNvSpPr>
            <p:nvPr/>
          </p:nvSpPr>
          <p:spPr bwMode="auto">
            <a:xfrm>
              <a:off x="12849225" y="227013"/>
              <a:ext cx="2830513" cy="1908175"/>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123" name="Group 122"/>
            <p:cNvGrpSpPr/>
            <p:nvPr/>
          </p:nvGrpSpPr>
          <p:grpSpPr>
            <a:xfrm>
              <a:off x="12849225" y="647700"/>
              <a:ext cx="3357563" cy="5140325"/>
              <a:chOff x="12849225" y="647700"/>
              <a:chExt cx="3357563" cy="5140325"/>
            </a:xfrm>
            <a:grpFill/>
          </p:grpSpPr>
          <p:sp>
            <p:nvSpPr>
              <p:cNvPr id="124" name="Rectangle 123"/>
              <p:cNvSpPr>
                <a:spLocks noChangeArrowheads="1"/>
              </p:cNvSpPr>
              <p:nvPr/>
            </p:nvSpPr>
            <p:spPr bwMode="auto">
              <a:xfrm>
                <a:off x="15830550" y="647700"/>
                <a:ext cx="376238" cy="1082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5" name="Freeform 124"/>
              <p:cNvSpPr>
                <a:spLocks/>
              </p:cNvSpPr>
              <p:nvPr/>
            </p:nvSpPr>
            <p:spPr bwMode="auto">
              <a:xfrm>
                <a:off x="12849225" y="2293938"/>
                <a:ext cx="2830513" cy="3494087"/>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grpSp>
      <p:grpSp>
        <p:nvGrpSpPr>
          <p:cNvPr id="87" name="Group 86"/>
          <p:cNvGrpSpPr/>
          <p:nvPr/>
        </p:nvGrpSpPr>
        <p:grpSpPr>
          <a:xfrm>
            <a:off x="8488640" y="1545388"/>
            <a:ext cx="595191" cy="408256"/>
            <a:chOff x="7871810" y="3175673"/>
            <a:chExt cx="772691" cy="448812"/>
          </a:xfrm>
          <a:solidFill>
            <a:schemeClr val="bg1"/>
          </a:solidFill>
        </p:grpSpPr>
        <p:sp>
          <p:nvSpPr>
            <p:cNvPr id="120" name="Freeform 119"/>
            <p:cNvSpPr>
              <a:spLocks noEditPoints="1"/>
            </p:cNvSpPr>
            <p:nvPr/>
          </p:nvSpPr>
          <p:spPr bwMode="auto">
            <a:xfrm>
              <a:off x="8016574" y="3281845"/>
              <a:ext cx="311927" cy="223511"/>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grp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21" name="Freeform 120"/>
            <p:cNvSpPr>
              <a:spLocks noChangeAspect="1"/>
            </p:cNvSpPr>
            <p:nvPr/>
          </p:nvSpPr>
          <p:spPr bwMode="auto">
            <a:xfrm>
              <a:off x="7871810" y="3175673"/>
              <a:ext cx="772691" cy="448812"/>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sp>
        <p:nvSpPr>
          <p:cNvPr id="88" name="Rounded Rectangle 89"/>
          <p:cNvSpPr>
            <a:spLocks noChangeAspect="1"/>
          </p:cNvSpPr>
          <p:nvPr/>
        </p:nvSpPr>
        <p:spPr bwMode="auto">
          <a:xfrm rot="16200000">
            <a:off x="9469485" y="3998957"/>
            <a:ext cx="577561" cy="818844"/>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93173" tIns="46585" rIns="46585" bIns="9317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98524"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9" name="Freeform 88"/>
          <p:cNvSpPr>
            <a:spLocks noChangeAspect="1"/>
          </p:cNvSpPr>
          <p:nvPr/>
        </p:nvSpPr>
        <p:spPr bwMode="auto">
          <a:xfrm flipH="1">
            <a:off x="8532226" y="4695222"/>
            <a:ext cx="351682" cy="52934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90" name="Freeform 89"/>
          <p:cNvSpPr/>
          <p:nvPr/>
        </p:nvSpPr>
        <p:spPr bwMode="auto">
          <a:xfrm>
            <a:off x="3768009" y="4750355"/>
            <a:ext cx="418482" cy="342794"/>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1" name="Rectangle 2048"/>
          <p:cNvSpPr/>
          <p:nvPr/>
        </p:nvSpPr>
        <p:spPr bwMode="auto">
          <a:xfrm flipV="1">
            <a:off x="5271627" y="3838879"/>
            <a:ext cx="446125" cy="941137"/>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2" name="Rounded Rectangle 94"/>
          <p:cNvSpPr>
            <a:spLocks noChangeAspect="1"/>
          </p:cNvSpPr>
          <p:nvPr/>
        </p:nvSpPr>
        <p:spPr bwMode="auto">
          <a:xfrm>
            <a:off x="4455504" y="4136889"/>
            <a:ext cx="469522" cy="537676"/>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3" name="Oval 16"/>
          <p:cNvSpPr/>
          <p:nvPr/>
        </p:nvSpPr>
        <p:spPr bwMode="auto">
          <a:xfrm>
            <a:off x="4361036" y="5111718"/>
            <a:ext cx="333423" cy="355053"/>
          </a:xfrm>
          <a:custGeom>
            <a:avLst/>
            <a:gdLst/>
            <a:ahLst/>
            <a:cxnLst/>
            <a:rect l="l" t="t" r="r" b="b"/>
            <a:pathLst>
              <a:path w="2396359" h="2310016">
                <a:moveTo>
                  <a:pt x="1165378" y="1670960"/>
                </a:moveTo>
                <a:cubicBezTo>
                  <a:pt x="1273504" y="1670960"/>
                  <a:pt x="1361157" y="1758613"/>
                  <a:pt x="1361157" y="1866739"/>
                </a:cubicBezTo>
                <a:cubicBezTo>
                  <a:pt x="1361157" y="1974865"/>
                  <a:pt x="1273504" y="2062518"/>
                  <a:pt x="1165378" y="2062518"/>
                </a:cubicBezTo>
                <a:cubicBezTo>
                  <a:pt x="1057252" y="2062518"/>
                  <a:pt x="969599" y="1974865"/>
                  <a:pt x="969599" y="1866739"/>
                </a:cubicBezTo>
                <a:cubicBezTo>
                  <a:pt x="969599" y="1758613"/>
                  <a:pt x="1057252" y="1670960"/>
                  <a:pt x="1165378" y="1670960"/>
                </a:cubicBezTo>
                <a:close/>
                <a:moveTo>
                  <a:pt x="1165378" y="1364076"/>
                </a:moveTo>
                <a:cubicBezTo>
                  <a:pt x="972314" y="1364076"/>
                  <a:pt x="815805" y="1520585"/>
                  <a:pt x="815805" y="1713649"/>
                </a:cubicBezTo>
                <a:lnTo>
                  <a:pt x="815805" y="2138530"/>
                </a:lnTo>
                <a:lnTo>
                  <a:pt x="1514951" y="2138530"/>
                </a:lnTo>
                <a:lnTo>
                  <a:pt x="1514951" y="1713649"/>
                </a:lnTo>
                <a:cubicBezTo>
                  <a:pt x="1514951" y="1520585"/>
                  <a:pt x="1358442" y="1364076"/>
                  <a:pt x="1165378" y="1364076"/>
                </a:cubicBezTo>
                <a:close/>
                <a:moveTo>
                  <a:pt x="1102410" y="885807"/>
                </a:moveTo>
                <a:cubicBezTo>
                  <a:pt x="1698054" y="885807"/>
                  <a:pt x="2243980" y="1028981"/>
                  <a:pt x="2243980" y="1314132"/>
                </a:cubicBezTo>
                <a:cubicBezTo>
                  <a:pt x="2243980" y="1864144"/>
                  <a:pt x="1761116" y="2310016"/>
                  <a:pt x="1165472" y="2310016"/>
                </a:cubicBezTo>
                <a:cubicBezTo>
                  <a:pt x="569828" y="2310016"/>
                  <a:pt x="97474" y="1551500"/>
                  <a:pt x="86964" y="1314132"/>
                </a:cubicBezTo>
                <a:cubicBezTo>
                  <a:pt x="76454" y="1076764"/>
                  <a:pt x="506766" y="885807"/>
                  <a:pt x="1102410" y="885807"/>
                </a:cubicBezTo>
                <a:close/>
                <a:moveTo>
                  <a:pt x="1167542" y="481"/>
                </a:moveTo>
                <a:cubicBezTo>
                  <a:pt x="1587408" y="-7473"/>
                  <a:pt x="2041373" y="82194"/>
                  <a:pt x="2396359" y="336018"/>
                </a:cubicBezTo>
                <a:lnTo>
                  <a:pt x="2396359" y="1092763"/>
                </a:lnTo>
                <a:cubicBezTo>
                  <a:pt x="1824596" y="853127"/>
                  <a:pt x="1025810" y="575654"/>
                  <a:pt x="0" y="1092763"/>
                </a:cubicBezTo>
                <a:lnTo>
                  <a:pt x="0" y="373856"/>
                </a:lnTo>
                <a:cubicBezTo>
                  <a:pt x="144255" y="182304"/>
                  <a:pt x="627714" y="10707"/>
                  <a:pt x="1167542" y="4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4" name="Group 93"/>
          <p:cNvGrpSpPr/>
          <p:nvPr/>
        </p:nvGrpSpPr>
        <p:grpSpPr>
          <a:xfrm>
            <a:off x="3497931" y="5900723"/>
            <a:ext cx="456349" cy="409576"/>
            <a:chOff x="8861592" y="550178"/>
            <a:chExt cx="604141" cy="594107"/>
          </a:xfrm>
          <a:solidFill>
            <a:schemeClr val="bg1"/>
          </a:solidFill>
        </p:grpSpPr>
        <p:sp>
          <p:nvSpPr>
            <p:cNvPr id="115" name="Freeform 114"/>
            <p:cNvSpPr>
              <a:spLocks noEditPoints="1"/>
            </p:cNvSpPr>
            <p:nvPr/>
          </p:nvSpPr>
          <p:spPr bwMode="auto">
            <a:xfrm>
              <a:off x="8861592" y="717875"/>
              <a:ext cx="604141" cy="285945"/>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6" name="Freeform 115"/>
            <p:cNvSpPr>
              <a:spLocks noEditPoints="1"/>
            </p:cNvSpPr>
            <p:nvPr/>
          </p:nvSpPr>
          <p:spPr bwMode="auto">
            <a:xfrm>
              <a:off x="9007073" y="863356"/>
              <a:ext cx="313179" cy="280929"/>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7" name="Rectangle 116"/>
            <p:cNvSpPr>
              <a:spLocks noChangeArrowheads="1"/>
            </p:cNvSpPr>
            <p:nvPr/>
          </p:nvSpPr>
          <p:spPr bwMode="auto">
            <a:xfrm>
              <a:off x="9078739" y="909222"/>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8" name="Rectangle 117"/>
            <p:cNvSpPr>
              <a:spLocks noChangeArrowheads="1"/>
            </p:cNvSpPr>
            <p:nvPr/>
          </p:nvSpPr>
          <p:spPr bwMode="auto">
            <a:xfrm>
              <a:off x="9078739" y="971571"/>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9" name="Freeform 118"/>
            <p:cNvSpPr>
              <a:spLocks/>
            </p:cNvSpPr>
            <p:nvPr/>
          </p:nvSpPr>
          <p:spPr bwMode="auto">
            <a:xfrm>
              <a:off x="8980557" y="550178"/>
              <a:ext cx="368361" cy="140464"/>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grpSp>
      <p:sp>
        <p:nvSpPr>
          <p:cNvPr id="95" name="VEHICLE TRACKING DEVICE"/>
          <p:cNvSpPr/>
          <p:nvPr/>
        </p:nvSpPr>
        <p:spPr bwMode="auto">
          <a:xfrm>
            <a:off x="2992285" y="5274960"/>
            <a:ext cx="784015" cy="439108"/>
          </a:xfrm>
          <a:custGeom>
            <a:avLst/>
            <a:gdLst/>
            <a:ahLst/>
            <a:cxnLst/>
            <a:rect l="l" t="t" r="r" b="b"/>
            <a:pathLst>
              <a:path w="697148" h="395762">
                <a:moveTo>
                  <a:pt x="26638" y="234768"/>
                </a:moveTo>
                <a:lnTo>
                  <a:pt x="400041" y="234768"/>
                </a:lnTo>
                <a:cubicBezTo>
                  <a:pt x="408944" y="266355"/>
                  <a:pt x="437343" y="289279"/>
                  <a:pt x="471308" y="290204"/>
                </a:cubicBezTo>
                <a:lnTo>
                  <a:pt x="471308" y="368930"/>
                </a:lnTo>
                <a:cubicBezTo>
                  <a:pt x="471308" y="383749"/>
                  <a:pt x="459382" y="395762"/>
                  <a:pt x="444670" y="395762"/>
                </a:cubicBezTo>
                <a:lnTo>
                  <a:pt x="26638" y="395762"/>
                </a:lnTo>
                <a:cubicBezTo>
                  <a:pt x="11926" y="395762"/>
                  <a:pt x="0" y="383749"/>
                  <a:pt x="0" y="368930"/>
                </a:cubicBezTo>
                <a:lnTo>
                  <a:pt x="0" y="261601"/>
                </a:lnTo>
                <a:cubicBezTo>
                  <a:pt x="0" y="246781"/>
                  <a:pt x="11926" y="234768"/>
                  <a:pt x="26638" y="234768"/>
                </a:cubicBezTo>
                <a:close/>
                <a:moveTo>
                  <a:pt x="525384" y="193997"/>
                </a:moveTo>
                <a:lnTo>
                  <a:pt x="525384" y="267062"/>
                </a:lnTo>
                <a:cubicBezTo>
                  <a:pt x="563540" y="262458"/>
                  <a:pt x="593716" y="232222"/>
                  <a:pt x="598304" y="193997"/>
                </a:cubicBezTo>
                <a:close/>
                <a:moveTo>
                  <a:pt x="430232" y="193997"/>
                </a:moveTo>
                <a:cubicBezTo>
                  <a:pt x="434819" y="232222"/>
                  <a:pt x="464996" y="262458"/>
                  <a:pt x="503151" y="267062"/>
                </a:cubicBezTo>
                <a:lnTo>
                  <a:pt x="503151" y="193997"/>
                </a:lnTo>
                <a:close/>
                <a:moveTo>
                  <a:pt x="525384" y="98698"/>
                </a:moveTo>
                <a:lnTo>
                  <a:pt x="525384" y="171764"/>
                </a:lnTo>
                <a:lnTo>
                  <a:pt x="598304" y="171764"/>
                </a:lnTo>
                <a:cubicBezTo>
                  <a:pt x="593716" y="133538"/>
                  <a:pt x="563540" y="103303"/>
                  <a:pt x="525384" y="98698"/>
                </a:cubicBezTo>
                <a:close/>
                <a:moveTo>
                  <a:pt x="503151" y="98698"/>
                </a:moveTo>
                <a:cubicBezTo>
                  <a:pt x="464996" y="103303"/>
                  <a:pt x="434819" y="133538"/>
                  <a:pt x="430232" y="171764"/>
                </a:cubicBezTo>
                <a:lnTo>
                  <a:pt x="503151" y="171764"/>
                </a:lnTo>
                <a:close/>
                <a:moveTo>
                  <a:pt x="514268" y="0"/>
                </a:moveTo>
                <a:cubicBezTo>
                  <a:pt x="520407" y="0"/>
                  <a:pt x="525384" y="4977"/>
                  <a:pt x="525384" y="11116"/>
                </a:cubicBezTo>
                <a:lnTo>
                  <a:pt x="525384" y="71819"/>
                </a:lnTo>
                <a:cubicBezTo>
                  <a:pt x="578399" y="76498"/>
                  <a:pt x="620516" y="118676"/>
                  <a:pt x="625182" y="171764"/>
                </a:cubicBezTo>
                <a:lnTo>
                  <a:pt x="686032" y="171764"/>
                </a:lnTo>
                <a:cubicBezTo>
                  <a:pt x="692171" y="171764"/>
                  <a:pt x="697148" y="176741"/>
                  <a:pt x="697148" y="182880"/>
                </a:cubicBezTo>
                <a:cubicBezTo>
                  <a:pt x="697148" y="189019"/>
                  <a:pt x="692171" y="193997"/>
                  <a:pt x="686032" y="193997"/>
                </a:cubicBezTo>
                <a:lnTo>
                  <a:pt x="625182" y="193997"/>
                </a:lnTo>
                <a:cubicBezTo>
                  <a:pt x="620516" y="247085"/>
                  <a:pt x="578399" y="289263"/>
                  <a:pt x="525384" y="293942"/>
                </a:cubicBezTo>
                <a:lnTo>
                  <a:pt x="525384" y="354644"/>
                </a:lnTo>
                <a:cubicBezTo>
                  <a:pt x="525384" y="360783"/>
                  <a:pt x="520407" y="365760"/>
                  <a:pt x="514268" y="365760"/>
                </a:cubicBezTo>
                <a:cubicBezTo>
                  <a:pt x="508128" y="365760"/>
                  <a:pt x="503151" y="360783"/>
                  <a:pt x="503151" y="354644"/>
                </a:cubicBezTo>
                <a:lnTo>
                  <a:pt x="503151" y="293942"/>
                </a:lnTo>
                <a:cubicBezTo>
                  <a:pt x="450136" y="289263"/>
                  <a:pt x="408019" y="247085"/>
                  <a:pt x="403353" y="193997"/>
                </a:cubicBezTo>
                <a:lnTo>
                  <a:pt x="342504" y="193997"/>
                </a:lnTo>
                <a:cubicBezTo>
                  <a:pt x="336364" y="193997"/>
                  <a:pt x="331387" y="189019"/>
                  <a:pt x="331387" y="182880"/>
                </a:cubicBezTo>
                <a:cubicBezTo>
                  <a:pt x="331387" y="176741"/>
                  <a:pt x="336364" y="171764"/>
                  <a:pt x="342504" y="171764"/>
                </a:cubicBezTo>
                <a:lnTo>
                  <a:pt x="403353" y="171764"/>
                </a:lnTo>
                <a:cubicBezTo>
                  <a:pt x="408019" y="118676"/>
                  <a:pt x="450136" y="76498"/>
                  <a:pt x="503151" y="71819"/>
                </a:cubicBezTo>
                <a:lnTo>
                  <a:pt x="503151" y="11116"/>
                </a:lnTo>
                <a:cubicBezTo>
                  <a:pt x="503151" y="4977"/>
                  <a:pt x="508128" y="0"/>
                  <a:pt x="514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6" name="Group 95"/>
          <p:cNvGrpSpPr/>
          <p:nvPr/>
        </p:nvGrpSpPr>
        <p:grpSpPr>
          <a:xfrm>
            <a:off x="5072067" y="5574959"/>
            <a:ext cx="585689" cy="368290"/>
            <a:chOff x="5747233" y="2241611"/>
            <a:chExt cx="585773" cy="368342"/>
          </a:xfrm>
          <a:solidFill>
            <a:schemeClr val="bg1"/>
          </a:solidFill>
        </p:grpSpPr>
        <p:sp>
          <p:nvSpPr>
            <p:cNvPr id="112"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13"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82289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35"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114" name="Rectangle 113"/>
            <p:cNvSpPr/>
            <p:nvPr/>
          </p:nvSpPr>
          <p:spPr bwMode="auto">
            <a:xfrm>
              <a:off x="5747233" y="2293846"/>
              <a:ext cx="90003" cy="2149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sp>
        <p:nvSpPr>
          <p:cNvPr id="97" name="Rounded Rectangle 34"/>
          <p:cNvSpPr/>
          <p:nvPr/>
        </p:nvSpPr>
        <p:spPr bwMode="auto">
          <a:xfrm rot="16200000">
            <a:off x="7430862" y="2669458"/>
            <a:ext cx="331653" cy="593239"/>
          </a:xfrm>
          <a:custGeom>
            <a:avLst/>
            <a:gdLst/>
            <a:ahLst/>
            <a:cxnLst/>
            <a:rect l="l" t="t" r="r" b="b"/>
            <a:pathLst>
              <a:path w="1626184" h="1426201">
                <a:moveTo>
                  <a:pt x="116654" y="386811"/>
                </a:moveTo>
                <a:cubicBezTo>
                  <a:pt x="106724" y="386811"/>
                  <a:pt x="98674" y="394861"/>
                  <a:pt x="98674" y="404791"/>
                </a:cubicBezTo>
                <a:lnTo>
                  <a:pt x="98674" y="1329280"/>
                </a:lnTo>
                <a:cubicBezTo>
                  <a:pt x="98674" y="1339210"/>
                  <a:pt x="106724" y="1347260"/>
                  <a:pt x="116654" y="1347260"/>
                </a:cubicBezTo>
                <a:lnTo>
                  <a:pt x="1493738" y="1347260"/>
                </a:lnTo>
                <a:cubicBezTo>
                  <a:pt x="1503668" y="1347260"/>
                  <a:pt x="1511718" y="1339210"/>
                  <a:pt x="1511718" y="1329280"/>
                </a:cubicBezTo>
                <a:lnTo>
                  <a:pt x="1511718" y="404791"/>
                </a:lnTo>
                <a:cubicBezTo>
                  <a:pt x="1511718" y="394861"/>
                  <a:pt x="1503668" y="386811"/>
                  <a:pt x="1493738" y="386811"/>
                </a:cubicBezTo>
                <a:close/>
                <a:moveTo>
                  <a:pt x="1475557" y="270940"/>
                </a:moveTo>
                <a:cubicBezTo>
                  <a:pt x="1461143" y="270940"/>
                  <a:pt x="1449459" y="282624"/>
                  <a:pt x="1449459" y="297038"/>
                </a:cubicBezTo>
                <a:cubicBezTo>
                  <a:pt x="1449459" y="311452"/>
                  <a:pt x="1461143" y="323136"/>
                  <a:pt x="1475557" y="323136"/>
                </a:cubicBezTo>
                <a:cubicBezTo>
                  <a:pt x="1489971" y="323136"/>
                  <a:pt x="1501655" y="311452"/>
                  <a:pt x="1501655" y="297038"/>
                </a:cubicBezTo>
                <a:cubicBezTo>
                  <a:pt x="1501655" y="282624"/>
                  <a:pt x="1489971" y="270940"/>
                  <a:pt x="1475557" y="270940"/>
                </a:cubicBezTo>
                <a:close/>
                <a:moveTo>
                  <a:pt x="1283593" y="270940"/>
                </a:moveTo>
                <a:cubicBezTo>
                  <a:pt x="1269179" y="270940"/>
                  <a:pt x="1257495" y="282624"/>
                  <a:pt x="1257495" y="297038"/>
                </a:cubicBezTo>
                <a:cubicBezTo>
                  <a:pt x="1257495" y="311452"/>
                  <a:pt x="1269179" y="323136"/>
                  <a:pt x="1283593" y="323136"/>
                </a:cubicBezTo>
                <a:cubicBezTo>
                  <a:pt x="1298007" y="323136"/>
                  <a:pt x="1309691" y="311452"/>
                  <a:pt x="1309691" y="297038"/>
                </a:cubicBezTo>
                <a:cubicBezTo>
                  <a:pt x="1309691" y="282624"/>
                  <a:pt x="1298007" y="270940"/>
                  <a:pt x="1283593" y="270940"/>
                </a:cubicBezTo>
                <a:close/>
                <a:moveTo>
                  <a:pt x="544099" y="166189"/>
                </a:moveTo>
                <a:cubicBezTo>
                  <a:pt x="502282" y="166189"/>
                  <a:pt x="468383" y="200088"/>
                  <a:pt x="468383" y="241905"/>
                </a:cubicBezTo>
                <a:cubicBezTo>
                  <a:pt x="468383" y="283722"/>
                  <a:pt x="502282" y="317621"/>
                  <a:pt x="544099" y="317621"/>
                </a:cubicBezTo>
                <a:lnTo>
                  <a:pt x="1082085" y="317621"/>
                </a:lnTo>
                <a:cubicBezTo>
                  <a:pt x="1123902" y="317621"/>
                  <a:pt x="1157801" y="283722"/>
                  <a:pt x="1157801" y="241905"/>
                </a:cubicBezTo>
                <a:cubicBezTo>
                  <a:pt x="1157801" y="200088"/>
                  <a:pt x="1123902" y="166189"/>
                  <a:pt x="1082085" y="166189"/>
                </a:cubicBezTo>
                <a:close/>
                <a:moveTo>
                  <a:pt x="1475557" y="78974"/>
                </a:moveTo>
                <a:cubicBezTo>
                  <a:pt x="1461143" y="78974"/>
                  <a:pt x="1449459" y="90658"/>
                  <a:pt x="1449459" y="105072"/>
                </a:cubicBezTo>
                <a:cubicBezTo>
                  <a:pt x="1449459" y="119486"/>
                  <a:pt x="1461143" y="131170"/>
                  <a:pt x="1475557" y="131170"/>
                </a:cubicBezTo>
                <a:cubicBezTo>
                  <a:pt x="1489971" y="131170"/>
                  <a:pt x="1501655" y="119486"/>
                  <a:pt x="1501655" y="105072"/>
                </a:cubicBezTo>
                <a:cubicBezTo>
                  <a:pt x="1501655" y="90658"/>
                  <a:pt x="1489971" y="78974"/>
                  <a:pt x="1475557" y="78974"/>
                </a:cubicBezTo>
                <a:close/>
                <a:moveTo>
                  <a:pt x="1379575" y="78974"/>
                </a:moveTo>
                <a:cubicBezTo>
                  <a:pt x="1366950" y="78974"/>
                  <a:pt x="1356715" y="89209"/>
                  <a:pt x="1356715" y="101834"/>
                </a:cubicBezTo>
                <a:lnTo>
                  <a:pt x="1356715" y="178193"/>
                </a:lnTo>
                <a:lnTo>
                  <a:pt x="1280355" y="178193"/>
                </a:lnTo>
                <a:cubicBezTo>
                  <a:pt x="1267730" y="178193"/>
                  <a:pt x="1257495" y="188428"/>
                  <a:pt x="1257495" y="201053"/>
                </a:cubicBezTo>
                <a:cubicBezTo>
                  <a:pt x="1257495" y="213678"/>
                  <a:pt x="1267730" y="223913"/>
                  <a:pt x="1280355" y="223913"/>
                </a:cubicBezTo>
                <a:lnTo>
                  <a:pt x="1356715" y="223913"/>
                </a:lnTo>
                <a:lnTo>
                  <a:pt x="1356715" y="300273"/>
                </a:lnTo>
                <a:cubicBezTo>
                  <a:pt x="1356715" y="312898"/>
                  <a:pt x="1366950" y="323133"/>
                  <a:pt x="1379575" y="323133"/>
                </a:cubicBezTo>
                <a:lnTo>
                  <a:pt x="1379574" y="323134"/>
                </a:lnTo>
                <a:cubicBezTo>
                  <a:pt x="1392199" y="323134"/>
                  <a:pt x="1402434" y="312899"/>
                  <a:pt x="1402434" y="300274"/>
                </a:cubicBezTo>
                <a:cubicBezTo>
                  <a:pt x="1402434" y="274820"/>
                  <a:pt x="1402434" y="249367"/>
                  <a:pt x="1402435" y="223913"/>
                </a:cubicBezTo>
                <a:lnTo>
                  <a:pt x="1478794" y="223913"/>
                </a:lnTo>
                <a:cubicBezTo>
                  <a:pt x="1491419" y="223913"/>
                  <a:pt x="1501654" y="213678"/>
                  <a:pt x="1501654" y="201053"/>
                </a:cubicBezTo>
                <a:lnTo>
                  <a:pt x="1501655" y="201054"/>
                </a:lnTo>
                <a:cubicBezTo>
                  <a:pt x="1501655" y="188429"/>
                  <a:pt x="1491420" y="178194"/>
                  <a:pt x="1478795" y="178194"/>
                </a:cubicBezTo>
                <a:cubicBezTo>
                  <a:pt x="1453342" y="178194"/>
                  <a:pt x="1427888" y="178194"/>
                  <a:pt x="1402435" y="178193"/>
                </a:cubicBezTo>
                <a:lnTo>
                  <a:pt x="1402435" y="101834"/>
                </a:lnTo>
                <a:cubicBezTo>
                  <a:pt x="1402435" y="89209"/>
                  <a:pt x="1392200" y="78974"/>
                  <a:pt x="1379575" y="78974"/>
                </a:cubicBezTo>
                <a:close/>
                <a:moveTo>
                  <a:pt x="1283593" y="78974"/>
                </a:moveTo>
                <a:cubicBezTo>
                  <a:pt x="1269179" y="78974"/>
                  <a:pt x="1257495" y="90658"/>
                  <a:pt x="1257495" y="105072"/>
                </a:cubicBezTo>
                <a:cubicBezTo>
                  <a:pt x="1257495" y="119486"/>
                  <a:pt x="1269179" y="131170"/>
                  <a:pt x="1283593" y="131170"/>
                </a:cubicBezTo>
                <a:cubicBezTo>
                  <a:pt x="1298007" y="131170"/>
                  <a:pt x="1309691" y="119486"/>
                  <a:pt x="1309691" y="105072"/>
                </a:cubicBezTo>
                <a:cubicBezTo>
                  <a:pt x="1309691" y="90658"/>
                  <a:pt x="1298007" y="78974"/>
                  <a:pt x="1283593" y="78974"/>
                </a:cubicBezTo>
                <a:close/>
                <a:moveTo>
                  <a:pt x="61426" y="0"/>
                </a:moveTo>
                <a:lnTo>
                  <a:pt x="1564758" y="0"/>
                </a:lnTo>
                <a:cubicBezTo>
                  <a:pt x="1598683" y="0"/>
                  <a:pt x="1626184" y="27501"/>
                  <a:pt x="1626184" y="61426"/>
                </a:cubicBezTo>
                <a:lnTo>
                  <a:pt x="1626184" y="1364775"/>
                </a:lnTo>
                <a:cubicBezTo>
                  <a:pt x="1626184" y="1398700"/>
                  <a:pt x="1598683" y="1426201"/>
                  <a:pt x="1564758" y="1426201"/>
                </a:cubicBezTo>
                <a:lnTo>
                  <a:pt x="61426" y="1426201"/>
                </a:lnTo>
                <a:cubicBezTo>
                  <a:pt x="27501" y="1426201"/>
                  <a:pt x="0" y="1398700"/>
                  <a:pt x="0" y="1364775"/>
                </a:cubicBezTo>
                <a:lnTo>
                  <a:pt x="0" y="61426"/>
                </a:lnTo>
                <a:cubicBezTo>
                  <a:pt x="0" y="27501"/>
                  <a:pt x="27501" y="0"/>
                  <a:pt x="614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8" name="Freeform 97"/>
          <p:cNvSpPr/>
          <p:nvPr/>
        </p:nvSpPr>
        <p:spPr bwMode="auto">
          <a:xfrm>
            <a:off x="4263581" y="5821740"/>
            <a:ext cx="525765" cy="21424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238168 w 1948557"/>
              <a:gd name="connsiteY4" fmla="*/ 315257 h 539430"/>
              <a:gd name="connsiteX5" fmla="*/ 238168 w 1948557"/>
              <a:gd name="connsiteY5" fmla="*/ 360976 h 539430"/>
              <a:gd name="connsiteX6" fmla="*/ 600628 w 1948557"/>
              <a:gd name="connsiteY6" fmla="*/ 360976 h 539430"/>
              <a:gd name="connsiteX7" fmla="*/ 600628 w 1948557"/>
              <a:gd name="connsiteY7" fmla="*/ 315257 h 539430"/>
              <a:gd name="connsiteX8" fmla="*/ 238168 w 1948557"/>
              <a:gd name="connsiteY8" fmla="*/ 246857 h 539430"/>
              <a:gd name="connsiteX9" fmla="*/ 238168 w 1948557"/>
              <a:gd name="connsiteY9" fmla="*/ 292576 h 539430"/>
              <a:gd name="connsiteX10" fmla="*/ 600628 w 1948557"/>
              <a:gd name="connsiteY10" fmla="*/ 292576 h 539430"/>
              <a:gd name="connsiteX11" fmla="*/ 600628 w 1948557"/>
              <a:gd name="connsiteY11" fmla="*/ 246857 h 539430"/>
              <a:gd name="connsiteX12" fmla="*/ 238168 w 1948557"/>
              <a:gd name="connsiteY12" fmla="*/ 178456 h 539430"/>
              <a:gd name="connsiteX13" fmla="*/ 238168 w 1948557"/>
              <a:gd name="connsiteY13" fmla="*/ 224175 h 539430"/>
              <a:gd name="connsiteX14" fmla="*/ 600628 w 1948557"/>
              <a:gd name="connsiteY14" fmla="*/ 224175 h 539430"/>
              <a:gd name="connsiteX15" fmla="*/ 600628 w 1948557"/>
              <a:gd name="connsiteY15" fmla="*/ 178456 h 539430"/>
              <a:gd name="connsiteX16" fmla="*/ 1047722 w 1948557"/>
              <a:gd name="connsiteY16" fmla="*/ 128827 h 539430"/>
              <a:gd name="connsiteX17" fmla="*/ 1047722 w 1948557"/>
              <a:gd name="connsiteY17" fmla="*/ 233487 h 539430"/>
              <a:gd name="connsiteX18" fmla="*/ 1725259 w 1948557"/>
              <a:gd name="connsiteY18" fmla="*/ 233487 h 539430"/>
              <a:gd name="connsiteX19" fmla="*/ 1725259 w 1948557"/>
              <a:gd name="connsiteY19" fmla="*/ 128827 h 539430"/>
              <a:gd name="connsiteX20" fmla="*/ 238168 w 1948557"/>
              <a:gd name="connsiteY20" fmla="*/ 110055 h 539430"/>
              <a:gd name="connsiteX21" fmla="*/ 238168 w 1948557"/>
              <a:gd name="connsiteY21" fmla="*/ 155774 h 539430"/>
              <a:gd name="connsiteX22" fmla="*/ 600628 w 1948557"/>
              <a:gd name="connsiteY22" fmla="*/ 155774 h 539430"/>
              <a:gd name="connsiteX23" fmla="*/ 600628 w 1948557"/>
              <a:gd name="connsiteY23" fmla="*/ 110055 h 539430"/>
              <a:gd name="connsiteX24" fmla="*/ 0 w 1948557"/>
              <a:gd name="connsiteY24" fmla="*/ 0 h 539430"/>
              <a:gd name="connsiteX25" fmla="*/ 1948557 w 1948557"/>
              <a:gd name="connsiteY25" fmla="*/ 0 h 539430"/>
              <a:gd name="connsiteX26" fmla="*/ 1948557 w 1948557"/>
              <a:gd name="connsiteY26" fmla="*/ 539430 h 539430"/>
              <a:gd name="connsiteX27" fmla="*/ 0 w 1948557"/>
              <a:gd name="connsiteY27"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8557" h="539430">
                <a:moveTo>
                  <a:pt x="238168" y="383657"/>
                </a:moveTo>
                <a:lnTo>
                  <a:pt x="238168" y="429376"/>
                </a:lnTo>
                <a:lnTo>
                  <a:pt x="600628" y="429376"/>
                </a:lnTo>
                <a:lnTo>
                  <a:pt x="600628" y="383657"/>
                </a:lnTo>
                <a:close/>
                <a:moveTo>
                  <a:pt x="238168" y="315257"/>
                </a:moveTo>
                <a:lnTo>
                  <a:pt x="238168" y="360976"/>
                </a:lnTo>
                <a:lnTo>
                  <a:pt x="600628" y="360976"/>
                </a:lnTo>
                <a:lnTo>
                  <a:pt x="600628" y="315257"/>
                </a:lnTo>
                <a:close/>
                <a:moveTo>
                  <a:pt x="238168" y="246857"/>
                </a:moveTo>
                <a:lnTo>
                  <a:pt x="238168" y="292576"/>
                </a:lnTo>
                <a:lnTo>
                  <a:pt x="600628" y="292576"/>
                </a:lnTo>
                <a:lnTo>
                  <a:pt x="600628" y="246857"/>
                </a:lnTo>
                <a:close/>
                <a:moveTo>
                  <a:pt x="238168" y="178456"/>
                </a:moveTo>
                <a:lnTo>
                  <a:pt x="238168" y="224175"/>
                </a:lnTo>
                <a:lnTo>
                  <a:pt x="600628" y="224175"/>
                </a:lnTo>
                <a:lnTo>
                  <a:pt x="600628" y="178456"/>
                </a:lnTo>
                <a:close/>
                <a:moveTo>
                  <a:pt x="1047722" y="128827"/>
                </a:moveTo>
                <a:lnTo>
                  <a:pt x="1047722" y="233487"/>
                </a:lnTo>
                <a:lnTo>
                  <a:pt x="1725259" y="233487"/>
                </a:lnTo>
                <a:lnTo>
                  <a:pt x="1725259" y="128827"/>
                </a:lnTo>
                <a:close/>
                <a:moveTo>
                  <a:pt x="238168" y="110055"/>
                </a:moveTo>
                <a:lnTo>
                  <a:pt x="238168" y="155774"/>
                </a:lnTo>
                <a:lnTo>
                  <a:pt x="600628" y="155774"/>
                </a:lnTo>
                <a:lnTo>
                  <a:pt x="600628" y="110055"/>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90000"/>
              </a:lnSpc>
              <a:spcBef>
                <a:spcPts val="0"/>
              </a:spcBef>
              <a:spcAft>
                <a:spcPts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9" name="Freeform 98"/>
          <p:cNvSpPr/>
          <p:nvPr/>
        </p:nvSpPr>
        <p:spPr bwMode="auto">
          <a:xfrm>
            <a:off x="8163635" y="2259144"/>
            <a:ext cx="865944" cy="239272"/>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0" name="Oval 1233"/>
          <p:cNvSpPr>
            <a:spLocks noChangeAspect="1"/>
          </p:cNvSpPr>
          <p:nvPr/>
        </p:nvSpPr>
        <p:spPr bwMode="auto">
          <a:xfrm>
            <a:off x="9280079" y="5124338"/>
            <a:ext cx="756229" cy="1005697"/>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1" name="Oval 1026"/>
          <p:cNvSpPr/>
          <p:nvPr/>
        </p:nvSpPr>
        <p:spPr bwMode="auto">
          <a:xfrm>
            <a:off x="2642628" y="5811713"/>
            <a:ext cx="242988" cy="378712"/>
          </a:xfrm>
          <a:custGeom>
            <a:avLst/>
            <a:gdLst/>
            <a:ahLst/>
            <a:cxnLst/>
            <a:rect l="l" t="t" r="r" b="b"/>
            <a:pathLst>
              <a:path w="2822132" h="4659950">
                <a:moveTo>
                  <a:pt x="2705024" y="1567575"/>
                </a:moveTo>
                <a:cubicBezTo>
                  <a:pt x="2763932" y="1561688"/>
                  <a:pt x="2823941" y="1595607"/>
                  <a:pt x="2822091" y="1685314"/>
                </a:cubicBezTo>
                <a:cubicBezTo>
                  <a:pt x="2817166" y="1962666"/>
                  <a:pt x="2810283" y="2334361"/>
                  <a:pt x="2814117" y="2720685"/>
                </a:cubicBezTo>
                <a:cubicBezTo>
                  <a:pt x="2817770" y="3088847"/>
                  <a:pt x="2302973" y="3832669"/>
                  <a:pt x="1543041" y="3901164"/>
                </a:cubicBezTo>
                <a:lnTo>
                  <a:pt x="1543041" y="4383750"/>
                </a:lnTo>
                <a:lnTo>
                  <a:pt x="2078959" y="4383750"/>
                </a:lnTo>
                <a:cubicBezTo>
                  <a:pt x="2155230" y="4383750"/>
                  <a:pt x="2217059" y="4445579"/>
                  <a:pt x="2217059" y="4521850"/>
                </a:cubicBezTo>
                <a:lnTo>
                  <a:pt x="2217058" y="4521850"/>
                </a:lnTo>
                <a:cubicBezTo>
                  <a:pt x="2217058" y="4598121"/>
                  <a:pt x="2155229" y="4659950"/>
                  <a:pt x="2078958" y="4659950"/>
                </a:cubicBezTo>
                <a:lnTo>
                  <a:pt x="743175" y="4659949"/>
                </a:lnTo>
                <a:cubicBezTo>
                  <a:pt x="666904" y="4659949"/>
                  <a:pt x="605075" y="4598121"/>
                  <a:pt x="605075" y="4521850"/>
                </a:cubicBezTo>
                <a:cubicBezTo>
                  <a:pt x="605075" y="4445579"/>
                  <a:pt x="666904" y="4383750"/>
                  <a:pt x="743175" y="4383750"/>
                </a:cubicBezTo>
                <a:lnTo>
                  <a:pt x="1279091" y="4383750"/>
                </a:lnTo>
                <a:lnTo>
                  <a:pt x="1279091" y="3900389"/>
                </a:lnTo>
                <a:cubicBezTo>
                  <a:pt x="534155" y="3822464"/>
                  <a:pt x="-1282" y="3168183"/>
                  <a:pt x="3610" y="2671380"/>
                </a:cubicBezTo>
                <a:cubicBezTo>
                  <a:pt x="-602" y="2320943"/>
                  <a:pt x="7542" y="2130275"/>
                  <a:pt x="0" y="1681974"/>
                </a:cubicBezTo>
                <a:cubicBezTo>
                  <a:pt x="2983" y="1557260"/>
                  <a:pt x="247362" y="1516297"/>
                  <a:pt x="252192" y="1687318"/>
                </a:cubicBezTo>
                <a:cubicBezTo>
                  <a:pt x="247498" y="1877390"/>
                  <a:pt x="240491" y="2302498"/>
                  <a:pt x="243298" y="2622376"/>
                </a:cubicBezTo>
                <a:cubicBezTo>
                  <a:pt x="246106" y="2942254"/>
                  <a:pt x="599406" y="3690325"/>
                  <a:pt x="1440906" y="3683475"/>
                </a:cubicBezTo>
                <a:cubicBezTo>
                  <a:pt x="2282405" y="3676626"/>
                  <a:pt x="2573635" y="2930723"/>
                  <a:pt x="2577390" y="2722681"/>
                </a:cubicBezTo>
                <a:cubicBezTo>
                  <a:pt x="2581144" y="2514639"/>
                  <a:pt x="2593758" y="2168319"/>
                  <a:pt x="2594564" y="1688672"/>
                </a:cubicBezTo>
                <a:cubicBezTo>
                  <a:pt x="2588310" y="1619156"/>
                  <a:pt x="2646117" y="1573462"/>
                  <a:pt x="2705024" y="1567575"/>
                </a:cubicBezTo>
                <a:close/>
                <a:moveTo>
                  <a:pt x="1701822" y="959183"/>
                </a:moveTo>
                <a:cubicBezTo>
                  <a:pt x="1808822" y="959183"/>
                  <a:pt x="1895562" y="1045922"/>
                  <a:pt x="1895562" y="1152922"/>
                </a:cubicBezTo>
                <a:cubicBezTo>
                  <a:pt x="1895562" y="1259922"/>
                  <a:pt x="1808822" y="1346662"/>
                  <a:pt x="1701822" y="1346662"/>
                </a:cubicBezTo>
                <a:cubicBezTo>
                  <a:pt x="1594822" y="1346662"/>
                  <a:pt x="1508082" y="1259922"/>
                  <a:pt x="1508082" y="1152922"/>
                </a:cubicBezTo>
                <a:cubicBezTo>
                  <a:pt x="1508082" y="1045922"/>
                  <a:pt x="1594822" y="959183"/>
                  <a:pt x="1701822" y="959183"/>
                </a:cubicBezTo>
                <a:close/>
                <a:moveTo>
                  <a:pt x="1115995" y="959183"/>
                </a:moveTo>
                <a:cubicBezTo>
                  <a:pt x="1222995" y="959183"/>
                  <a:pt x="1309734" y="1045922"/>
                  <a:pt x="1309734" y="1152922"/>
                </a:cubicBezTo>
                <a:cubicBezTo>
                  <a:pt x="1309734" y="1259922"/>
                  <a:pt x="1222995" y="1346662"/>
                  <a:pt x="1115995" y="1346662"/>
                </a:cubicBezTo>
                <a:cubicBezTo>
                  <a:pt x="1008995" y="1346662"/>
                  <a:pt x="922255" y="1259922"/>
                  <a:pt x="922255" y="1152922"/>
                </a:cubicBezTo>
                <a:cubicBezTo>
                  <a:pt x="922255" y="1045922"/>
                  <a:pt x="1008995" y="959183"/>
                  <a:pt x="1115995" y="959183"/>
                </a:cubicBezTo>
                <a:close/>
                <a:moveTo>
                  <a:pt x="1415838" y="514680"/>
                </a:moveTo>
                <a:cubicBezTo>
                  <a:pt x="1522838" y="514680"/>
                  <a:pt x="1609577" y="601419"/>
                  <a:pt x="1609577" y="708419"/>
                </a:cubicBezTo>
                <a:cubicBezTo>
                  <a:pt x="1609577" y="815420"/>
                  <a:pt x="1522838" y="902159"/>
                  <a:pt x="1415838" y="902159"/>
                </a:cubicBezTo>
                <a:cubicBezTo>
                  <a:pt x="1308838" y="902159"/>
                  <a:pt x="1222098" y="815420"/>
                  <a:pt x="1222098" y="708419"/>
                </a:cubicBezTo>
                <a:cubicBezTo>
                  <a:pt x="1222098" y="601419"/>
                  <a:pt x="1308838" y="514680"/>
                  <a:pt x="1415838" y="514680"/>
                </a:cubicBezTo>
                <a:close/>
                <a:moveTo>
                  <a:pt x="1394056" y="188424"/>
                </a:moveTo>
                <a:cubicBezTo>
                  <a:pt x="983953" y="188424"/>
                  <a:pt x="651501" y="520877"/>
                  <a:pt x="651501" y="930980"/>
                </a:cubicBezTo>
                <a:cubicBezTo>
                  <a:pt x="647952" y="1142888"/>
                  <a:pt x="644401" y="1354794"/>
                  <a:pt x="640852" y="1566702"/>
                </a:cubicBezTo>
                <a:lnTo>
                  <a:pt x="2147263" y="1556054"/>
                </a:lnTo>
                <a:cubicBezTo>
                  <a:pt x="2147263" y="1307307"/>
                  <a:pt x="2150451" y="1410369"/>
                  <a:pt x="2150451" y="926368"/>
                </a:cubicBezTo>
                <a:cubicBezTo>
                  <a:pt x="2150451" y="516264"/>
                  <a:pt x="1804160" y="188424"/>
                  <a:pt x="1394056" y="188424"/>
                </a:cubicBezTo>
                <a:close/>
                <a:moveTo>
                  <a:pt x="1411066" y="0"/>
                </a:moveTo>
                <a:cubicBezTo>
                  <a:pt x="1956557" y="0"/>
                  <a:pt x="2398764" y="442207"/>
                  <a:pt x="2398764" y="987697"/>
                </a:cubicBezTo>
                <a:cubicBezTo>
                  <a:pt x="2398764" y="1469802"/>
                  <a:pt x="2398762" y="1951909"/>
                  <a:pt x="2398762" y="2434014"/>
                </a:cubicBezTo>
                <a:cubicBezTo>
                  <a:pt x="2398762" y="2979504"/>
                  <a:pt x="1956555" y="3421711"/>
                  <a:pt x="1411065" y="3421711"/>
                </a:cubicBezTo>
                <a:lnTo>
                  <a:pt x="1411066" y="3421709"/>
                </a:lnTo>
                <a:cubicBezTo>
                  <a:pt x="865576" y="3421709"/>
                  <a:pt x="423369" y="2979502"/>
                  <a:pt x="423369" y="2434012"/>
                </a:cubicBezTo>
                <a:lnTo>
                  <a:pt x="423369" y="987697"/>
                </a:lnTo>
                <a:cubicBezTo>
                  <a:pt x="423369" y="442207"/>
                  <a:pt x="865576" y="0"/>
                  <a:pt x="14110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2" name="Rounded Rectangle 402"/>
          <p:cNvSpPr>
            <a:spLocks noChangeAspect="1"/>
          </p:cNvSpPr>
          <p:nvPr/>
        </p:nvSpPr>
        <p:spPr bwMode="auto">
          <a:xfrm rot="668849">
            <a:off x="2609107" y="4721172"/>
            <a:ext cx="577181" cy="519115"/>
          </a:xfrm>
          <a:custGeom>
            <a:avLst/>
            <a:gdLst/>
            <a:ahLst/>
            <a:cxnLst/>
            <a:rect l="l" t="t" r="r" b="b"/>
            <a:pathLst>
              <a:path w="3476741" h="3127782">
                <a:moveTo>
                  <a:pt x="130628" y="2246542"/>
                </a:moveTo>
                <a:lnTo>
                  <a:pt x="3420422" y="2216831"/>
                </a:lnTo>
                <a:lnTo>
                  <a:pt x="3476741" y="2502639"/>
                </a:lnTo>
                <a:lnTo>
                  <a:pt x="304278" y="3127782"/>
                </a:lnTo>
                <a:close/>
                <a:moveTo>
                  <a:pt x="234507" y="1864327"/>
                </a:moveTo>
                <a:cubicBezTo>
                  <a:pt x="234517" y="1864379"/>
                  <a:pt x="234526" y="1864429"/>
                  <a:pt x="234535" y="1864482"/>
                </a:cubicBezTo>
                <a:cubicBezTo>
                  <a:pt x="258320" y="1988533"/>
                  <a:pt x="332665" y="2074506"/>
                  <a:pt x="443964" y="2074506"/>
                </a:cubicBezTo>
                <a:lnTo>
                  <a:pt x="1872787" y="2042302"/>
                </a:lnTo>
                <a:cubicBezTo>
                  <a:pt x="1984085" y="2042303"/>
                  <a:pt x="2059333" y="1982377"/>
                  <a:pt x="2059333" y="1873879"/>
                </a:cubicBezTo>
                <a:lnTo>
                  <a:pt x="2045579" y="1811003"/>
                </a:lnTo>
                <a:close/>
                <a:moveTo>
                  <a:pt x="186223" y="919655"/>
                </a:moveTo>
                <a:cubicBezTo>
                  <a:pt x="89785" y="939608"/>
                  <a:pt x="71092" y="1026054"/>
                  <a:pt x="88447" y="1121860"/>
                </a:cubicBezTo>
                <a:cubicBezTo>
                  <a:pt x="134058" y="1352591"/>
                  <a:pt x="165890" y="1500138"/>
                  <a:pt x="201039" y="1683807"/>
                </a:cubicBezTo>
                <a:lnTo>
                  <a:pt x="2005693" y="1628666"/>
                </a:lnTo>
                <a:lnTo>
                  <a:pt x="1992534" y="1568508"/>
                </a:lnTo>
                <a:cubicBezTo>
                  <a:pt x="1960677" y="1411278"/>
                  <a:pt x="1925552" y="1248441"/>
                  <a:pt x="1893882" y="1091693"/>
                </a:cubicBezTo>
                <a:lnTo>
                  <a:pt x="1841809" y="1110526"/>
                </a:lnTo>
                <a:cubicBezTo>
                  <a:pt x="1552142" y="1210292"/>
                  <a:pt x="1204544" y="1275640"/>
                  <a:pt x="892489" y="1306073"/>
                </a:cubicBezTo>
                <a:cubicBezTo>
                  <a:pt x="756816" y="1321254"/>
                  <a:pt x="717156" y="1133515"/>
                  <a:pt x="849608" y="1047862"/>
                </a:cubicBezTo>
                <a:cubicBezTo>
                  <a:pt x="976692" y="997496"/>
                  <a:pt x="1099999" y="951431"/>
                  <a:pt x="1222406" y="909704"/>
                </a:cubicBezTo>
                <a:lnTo>
                  <a:pt x="232436" y="915341"/>
                </a:lnTo>
                <a:cubicBezTo>
                  <a:pt x="215364" y="915311"/>
                  <a:pt x="200000" y="916805"/>
                  <a:pt x="186223" y="919655"/>
                </a:cubicBezTo>
                <a:close/>
                <a:moveTo>
                  <a:pt x="1532850" y="647419"/>
                </a:moveTo>
                <a:lnTo>
                  <a:pt x="1421347" y="675846"/>
                </a:lnTo>
                <a:lnTo>
                  <a:pt x="1338568" y="717979"/>
                </a:lnTo>
                <a:lnTo>
                  <a:pt x="1221887" y="786157"/>
                </a:lnTo>
                <a:lnTo>
                  <a:pt x="1128175" y="845649"/>
                </a:lnTo>
                <a:lnTo>
                  <a:pt x="1418911" y="843384"/>
                </a:lnTo>
                <a:cubicBezTo>
                  <a:pt x="1555507" y="798488"/>
                  <a:pt x="1692523" y="758011"/>
                  <a:pt x="1833470" y="720322"/>
                </a:cubicBezTo>
                <a:lnTo>
                  <a:pt x="1824323" y="673900"/>
                </a:lnTo>
                <a:lnTo>
                  <a:pt x="1820649" y="655259"/>
                </a:lnTo>
                <a:lnTo>
                  <a:pt x="1813162" y="650279"/>
                </a:lnTo>
                <a:lnTo>
                  <a:pt x="1776951" y="631594"/>
                </a:lnTo>
                <a:lnTo>
                  <a:pt x="1729439" y="621591"/>
                </a:lnTo>
                <a:lnTo>
                  <a:pt x="1671852" y="626484"/>
                </a:lnTo>
                <a:close/>
                <a:moveTo>
                  <a:pt x="2808650" y="52096"/>
                </a:moveTo>
                <a:lnTo>
                  <a:pt x="3073026" y="0"/>
                </a:lnTo>
                <a:lnTo>
                  <a:pt x="3301253" y="1158201"/>
                </a:lnTo>
                <a:lnTo>
                  <a:pt x="3036877" y="1210297"/>
                </a:lnTo>
                <a:close/>
                <a:moveTo>
                  <a:pt x="1598383" y="253649"/>
                </a:moveTo>
                <a:lnTo>
                  <a:pt x="1834998" y="232845"/>
                </a:lnTo>
                <a:lnTo>
                  <a:pt x="2089176" y="202124"/>
                </a:lnTo>
                <a:lnTo>
                  <a:pt x="2538580" y="171664"/>
                </a:lnTo>
                <a:lnTo>
                  <a:pt x="2737618" y="158264"/>
                </a:lnTo>
                <a:lnTo>
                  <a:pt x="2732861" y="166579"/>
                </a:lnTo>
                <a:lnTo>
                  <a:pt x="2798466" y="467054"/>
                </a:lnTo>
                <a:lnTo>
                  <a:pt x="2858006" y="769195"/>
                </a:lnTo>
                <a:lnTo>
                  <a:pt x="2912489" y="1078870"/>
                </a:lnTo>
                <a:lnTo>
                  <a:pt x="2863279" y="1127802"/>
                </a:lnTo>
                <a:lnTo>
                  <a:pt x="2798999" y="1166623"/>
                </a:lnTo>
                <a:lnTo>
                  <a:pt x="2664146" y="1245509"/>
                </a:lnTo>
                <a:lnTo>
                  <a:pt x="2514224" y="1314285"/>
                </a:lnTo>
                <a:lnTo>
                  <a:pt x="2351712" y="1385543"/>
                </a:lnTo>
                <a:lnTo>
                  <a:pt x="2205603" y="1440490"/>
                </a:lnTo>
                <a:lnTo>
                  <a:pt x="2068362" y="1474074"/>
                </a:lnTo>
                <a:lnTo>
                  <a:pt x="2042072" y="1480878"/>
                </a:lnTo>
                <a:lnTo>
                  <a:pt x="2144266" y="1920066"/>
                </a:lnTo>
                <a:cubicBezTo>
                  <a:pt x="2144266" y="2041156"/>
                  <a:pt x="2062398" y="2108037"/>
                  <a:pt x="1941309" y="2108036"/>
                </a:cubicBezTo>
                <a:lnTo>
                  <a:pt x="386791" y="2143978"/>
                </a:lnTo>
                <a:cubicBezTo>
                  <a:pt x="265702" y="2143978"/>
                  <a:pt x="184818" y="2048026"/>
                  <a:pt x="158940" y="1909578"/>
                </a:cubicBezTo>
                <a:cubicBezTo>
                  <a:pt x="103909" y="1594409"/>
                  <a:pt x="64695" y="1416487"/>
                  <a:pt x="0" y="1080765"/>
                </a:cubicBezTo>
                <a:cubicBezTo>
                  <a:pt x="0" y="974812"/>
                  <a:pt x="65250" y="879766"/>
                  <a:pt x="162682" y="857660"/>
                </a:cubicBezTo>
                <a:cubicBezTo>
                  <a:pt x="176601" y="854502"/>
                  <a:pt x="191176" y="852832"/>
                  <a:pt x="206312" y="852832"/>
                </a:cubicBezTo>
                <a:lnTo>
                  <a:pt x="704767" y="848948"/>
                </a:lnTo>
                <a:lnTo>
                  <a:pt x="750022" y="801677"/>
                </a:lnTo>
                <a:lnTo>
                  <a:pt x="900886" y="642845"/>
                </a:lnTo>
                <a:lnTo>
                  <a:pt x="1055423" y="502656"/>
                </a:lnTo>
                <a:lnTo>
                  <a:pt x="1188583" y="386043"/>
                </a:lnTo>
                <a:lnTo>
                  <a:pt x="1240049" y="350081"/>
                </a:lnTo>
                <a:lnTo>
                  <a:pt x="1281437" y="329015"/>
                </a:lnTo>
                <a:lnTo>
                  <a:pt x="1335354" y="305480"/>
                </a:lnTo>
                <a:lnTo>
                  <a:pt x="1404241" y="29190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3" name="Freeform 102"/>
          <p:cNvSpPr>
            <a:spLocks/>
          </p:cNvSpPr>
          <p:nvPr/>
        </p:nvSpPr>
        <p:spPr bwMode="auto">
          <a:xfrm>
            <a:off x="3416892" y="4390540"/>
            <a:ext cx="381785" cy="431596"/>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bg1"/>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83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04" name="Round Same Side Corner Rectangle 26"/>
          <p:cNvSpPr>
            <a:spLocks noChangeAspect="1"/>
          </p:cNvSpPr>
          <p:nvPr/>
        </p:nvSpPr>
        <p:spPr bwMode="auto">
          <a:xfrm>
            <a:off x="7234765" y="3450620"/>
            <a:ext cx="313057" cy="539201"/>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5" name="Rectangle 34"/>
          <p:cNvSpPr/>
          <p:nvPr/>
        </p:nvSpPr>
        <p:spPr bwMode="auto">
          <a:xfrm>
            <a:off x="6436372" y="3069213"/>
            <a:ext cx="297121" cy="500280"/>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6" name="TextBox 62"/>
          <p:cNvSpPr txBox="1"/>
          <p:nvPr/>
        </p:nvSpPr>
        <p:spPr>
          <a:xfrm>
            <a:off x="1080769" y="1857987"/>
            <a:ext cx="952292"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Premium</a:t>
            </a:r>
          </a:p>
        </p:txBody>
      </p:sp>
      <p:sp>
        <p:nvSpPr>
          <p:cNvPr id="107" name="TextBox 63"/>
          <p:cNvSpPr txBox="1"/>
          <p:nvPr/>
        </p:nvSpPr>
        <p:spPr>
          <a:xfrm>
            <a:off x="1335771" y="6035986"/>
            <a:ext cx="713059"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Entry</a:t>
            </a:r>
            <a:endParaRPr kumimoji="0" lang="en-US" sz="11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08" name="TextBox 64"/>
          <p:cNvSpPr txBox="1"/>
          <p:nvPr/>
        </p:nvSpPr>
        <p:spPr>
          <a:xfrm>
            <a:off x="8720275" y="6589723"/>
            <a:ext cx="2455641" cy="228912"/>
          </a:xfrm>
          <a:prstGeom prst="rect">
            <a:avLst/>
          </a:prstGeom>
          <a:noFill/>
        </p:spPr>
        <p:txBody>
          <a:bodyPr wrap="none" lIns="186521" tIns="0" rIns="186521" bIns="0"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Device Capabilities</a:t>
            </a:r>
          </a:p>
        </p:txBody>
      </p:sp>
      <p:sp>
        <p:nvSpPr>
          <p:cNvPr id="109" name="Up Arrow 108"/>
          <p:cNvSpPr/>
          <p:nvPr/>
        </p:nvSpPr>
        <p:spPr bwMode="auto">
          <a:xfrm>
            <a:off x="1903471" y="819172"/>
            <a:ext cx="274098" cy="5705059"/>
          </a:xfrm>
          <a:prstGeom prst="upArrow">
            <a:avLst/>
          </a:prstGeom>
          <a:solidFill>
            <a:schemeClr val="tx1"/>
          </a:solidFill>
          <a:ln w="9525" cap="flat" cmpd="sng" algn="ctr">
            <a:solidFill>
              <a:schemeClr val="bg2"/>
            </a:solid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pitchFamily="34" charset="0"/>
            </a:endParaRPr>
          </a:p>
        </p:txBody>
      </p:sp>
      <p:sp>
        <p:nvSpPr>
          <p:cNvPr id="110" name="Up Arrow 109"/>
          <p:cNvSpPr/>
          <p:nvPr/>
        </p:nvSpPr>
        <p:spPr bwMode="auto">
          <a:xfrm rot="5400000">
            <a:off x="6212921" y="2154545"/>
            <a:ext cx="270455" cy="8729410"/>
          </a:xfrm>
          <a:prstGeom prst="upArrow">
            <a:avLst/>
          </a:prstGeom>
          <a:solidFill>
            <a:schemeClr val="tx1"/>
          </a:solidFill>
          <a:ln w="9525" cap="flat" cmpd="sng" algn="ctr">
            <a:no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3672" b="1"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Semibold" panose="020B0702040204020203" pitchFamily="34" charset="0"/>
            </a:endParaRPr>
          </a:p>
        </p:txBody>
      </p:sp>
      <p:sp>
        <p:nvSpPr>
          <p:cNvPr id="111" name="TextBox 72"/>
          <p:cNvSpPr txBox="1"/>
          <p:nvPr/>
        </p:nvSpPr>
        <p:spPr>
          <a:xfrm>
            <a:off x="1230568" y="850821"/>
            <a:ext cx="809496" cy="550647"/>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Cost</a:t>
            </a:r>
          </a:p>
        </p:txBody>
      </p:sp>
    </p:spTree>
    <p:extLst>
      <p:ext uri="{BB962C8B-B14F-4D97-AF65-F5344CB8AC3E}">
        <p14:creationId xmlns:p14="http://schemas.microsoft.com/office/powerpoint/2010/main" val="16517052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IoT</a:t>
            </a:r>
            <a:r>
              <a:rPr lang="en-US" dirty="0"/>
              <a:t> Suite</a:t>
            </a:r>
          </a:p>
        </p:txBody>
      </p:sp>
      <p:sp>
        <p:nvSpPr>
          <p:cNvPr id="52" name="Freeform 51"/>
          <p:cNvSpPr>
            <a:spLocks noChangeAspect="1"/>
          </p:cNvSpPr>
          <p:nvPr/>
        </p:nvSpPr>
        <p:spPr bwMode="auto">
          <a:xfrm rot="5280000">
            <a:off x="824918" y="1409233"/>
            <a:ext cx="480046" cy="61041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
        <p:nvSpPr>
          <p:cNvPr id="53" name="Rectangle 52"/>
          <p:cNvSpPr/>
          <p:nvPr/>
        </p:nvSpPr>
        <p:spPr>
          <a:xfrm>
            <a:off x="1568449" y="139416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IoT Hub</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nnect, secure, communicate, monitor and manage billions of devices</a:t>
            </a:r>
          </a:p>
        </p:txBody>
      </p:sp>
      <p:grpSp>
        <p:nvGrpSpPr>
          <p:cNvPr id="54" name="Group 53"/>
          <p:cNvGrpSpPr/>
          <p:nvPr/>
        </p:nvGrpSpPr>
        <p:grpSpPr>
          <a:xfrm>
            <a:off x="700088" y="2348142"/>
            <a:ext cx="641349" cy="498475"/>
            <a:chOff x="1107857" y="-3310276"/>
            <a:chExt cx="641349" cy="498475"/>
          </a:xfrm>
        </p:grpSpPr>
        <p:sp>
          <p:nvSpPr>
            <p:cNvPr id="5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59" name="Rectangle 58"/>
          <p:cNvSpPr/>
          <p:nvPr/>
        </p:nvSpPr>
        <p:spPr>
          <a:xfrm>
            <a:off x="1568449" y="229377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ream Analytic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Real time stream processing for billions of IoT devices</a:t>
            </a:r>
          </a:p>
        </p:txBody>
      </p:sp>
      <p:grpSp>
        <p:nvGrpSpPr>
          <p:cNvPr id="60" name="Group 59"/>
          <p:cNvGrpSpPr/>
          <p:nvPr/>
        </p:nvGrpSpPr>
        <p:grpSpPr>
          <a:xfrm>
            <a:off x="844549" y="3282179"/>
            <a:ext cx="458787" cy="398463"/>
            <a:chOff x="2317532" y="-4150064"/>
            <a:chExt cx="458787" cy="398463"/>
          </a:xfrm>
        </p:grpSpPr>
        <p:sp>
          <p:nvSpPr>
            <p:cNvPr id="61"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5" name="Rectangle 64"/>
          <p:cNvSpPr/>
          <p:nvPr/>
        </p:nvSpPr>
        <p:spPr>
          <a:xfrm>
            <a:off x="1570037" y="3180616"/>
            <a:ext cx="82296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orag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lob, SQL, DocumentDB, Data Lake.  Storage to meet every need at the scale of IoT</a:t>
            </a:r>
          </a:p>
        </p:txBody>
      </p:sp>
      <p:grpSp>
        <p:nvGrpSpPr>
          <p:cNvPr id="66" name="Group 65"/>
          <p:cNvGrpSpPr/>
          <p:nvPr/>
        </p:nvGrpSpPr>
        <p:grpSpPr>
          <a:xfrm>
            <a:off x="850629" y="4176942"/>
            <a:ext cx="508000" cy="450851"/>
            <a:chOff x="3314482" y="-4918414"/>
            <a:chExt cx="508000" cy="450850"/>
          </a:xfrm>
        </p:grpSpPr>
        <p:sp>
          <p:nvSpPr>
            <p:cNvPr id="6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8" name="Group 67"/>
            <p:cNvGrpSpPr/>
            <p:nvPr/>
          </p:nvGrpSpPr>
          <p:grpSpPr>
            <a:xfrm>
              <a:off x="3395444" y="-4880314"/>
              <a:ext cx="363537" cy="342900"/>
              <a:chOff x="3395444" y="-4880314"/>
              <a:chExt cx="363537" cy="342900"/>
            </a:xfrm>
          </p:grpSpPr>
          <p:sp>
            <p:nvSpPr>
              <p:cNvPr id="6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2" name="Rectangle 81"/>
          <p:cNvSpPr/>
          <p:nvPr/>
        </p:nvSpPr>
        <p:spPr>
          <a:xfrm>
            <a:off x="1570037" y="4141016"/>
            <a:ext cx="6216650" cy="806375"/>
          </a:xfrm>
          <a:prstGeom prst="rect">
            <a:avLst/>
          </a:prstGeom>
        </p:spPr>
        <p:txBody>
          <a:bodyPr>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App Servic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eb and mobile apps for any platform on any device</a:t>
            </a:r>
          </a:p>
        </p:txBody>
      </p:sp>
      <p:grpSp>
        <p:nvGrpSpPr>
          <p:cNvPr id="83" name="Group 82"/>
          <p:cNvGrpSpPr/>
          <p:nvPr/>
        </p:nvGrpSpPr>
        <p:grpSpPr>
          <a:xfrm>
            <a:off x="856745" y="5144145"/>
            <a:ext cx="551330" cy="854276"/>
            <a:chOff x="8694268" y="2095333"/>
            <a:chExt cx="538477" cy="850348"/>
          </a:xfrm>
        </p:grpSpPr>
        <p:sp>
          <p:nvSpPr>
            <p:cNvPr id="84" name="Rectangle 287"/>
            <p:cNvSpPr>
              <a:spLocks noChangeArrowheads="1"/>
            </p:cNvSpPr>
            <p:nvPr/>
          </p:nvSpPr>
          <p:spPr bwMode="auto">
            <a:xfrm>
              <a:off x="8694268" y="2669956"/>
              <a:ext cx="63" cy="27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5" name="Rectangle 84"/>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86" name="Group 85"/>
            <p:cNvGrpSpPr/>
            <p:nvPr/>
          </p:nvGrpSpPr>
          <p:grpSpPr>
            <a:xfrm>
              <a:off x="8831399" y="2232704"/>
              <a:ext cx="269157" cy="280308"/>
              <a:chOff x="11472827" y="4545788"/>
              <a:chExt cx="280728" cy="284825"/>
            </a:xfrm>
          </p:grpSpPr>
          <p:sp>
            <p:nvSpPr>
              <p:cNvPr id="87" name="Rounded Rectangle 86"/>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8" name="Rounded Rectangle 87"/>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9" name="Rounded Rectangle 88"/>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0" name="Rounded Rectangle 89"/>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1" name="Freeform 9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sp>
        <p:nvSpPr>
          <p:cNvPr id="92" name="Rectangle 91"/>
          <p:cNvSpPr/>
          <p:nvPr/>
        </p:nvSpPr>
        <p:spPr>
          <a:xfrm>
            <a:off x="1570037" y="5066914"/>
            <a:ext cx="99060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Power BI</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ashboards and data connectors to visualize any data</a:t>
            </a:r>
          </a:p>
        </p:txBody>
      </p:sp>
      <p:grpSp>
        <p:nvGrpSpPr>
          <p:cNvPr id="93" name="Group 92"/>
          <p:cNvGrpSpPr/>
          <p:nvPr/>
        </p:nvGrpSpPr>
        <p:grpSpPr>
          <a:xfrm>
            <a:off x="944291" y="6171320"/>
            <a:ext cx="425451" cy="427039"/>
            <a:chOff x="5737007" y="-3299164"/>
            <a:chExt cx="425450" cy="427038"/>
          </a:xfrm>
        </p:grpSpPr>
        <p:sp>
          <p:nvSpPr>
            <p:cNvPr id="94"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96" name="Rectangle 95"/>
          <p:cNvSpPr/>
          <p:nvPr/>
        </p:nvSpPr>
        <p:spPr>
          <a:xfrm>
            <a:off x="1570037" y="6113794"/>
            <a:ext cx="104394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Logic App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Powerful workflows to automate business processes</a:t>
            </a:r>
          </a:p>
        </p:txBody>
      </p:sp>
    </p:spTree>
    <p:extLst>
      <p:ext uri="{BB962C8B-B14F-4D97-AF65-F5344CB8AC3E}">
        <p14:creationId xmlns:p14="http://schemas.microsoft.com/office/powerpoint/2010/main" val="1359700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fade">
                                      <p:cBhvr>
                                        <p:cTn id="14" dur="500"/>
                                        <p:tgtEl>
                                          <p:spTgt spid="5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500"/>
                                        <p:tgtEl>
                                          <p:spTgt spid="92"/>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93"/>
                                        </p:tgtEl>
                                        <p:attrNameLst>
                                          <p:attrName>style.visibility</p:attrName>
                                        </p:attrNameLst>
                                      </p:cBhvr>
                                      <p:to>
                                        <p:strVal val="visible"/>
                                      </p:to>
                                    </p:set>
                                    <p:animEffect transition="in" filter="fade">
                                      <p:cBhvr>
                                        <p:cTn id="42" dur="500"/>
                                        <p:tgtEl>
                                          <p:spTgt spid="9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59" grpId="0"/>
      <p:bldP spid="65" grpId="0"/>
      <p:bldP spid="82" grpId="0"/>
      <p:bldP spid="92" grpId="0"/>
      <p:bldP spid="9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IoT</a:t>
            </a:r>
            <a:r>
              <a:rPr lang="en-US" dirty="0"/>
              <a:t> Suite</a:t>
            </a:r>
          </a:p>
        </p:txBody>
      </p:sp>
      <p:sp>
        <p:nvSpPr>
          <p:cNvPr id="4" name="Azuee Iot Suite"/>
          <p:cNvSpPr>
            <a:spLocks noChangeArrowheads="1"/>
          </p:cNvSpPr>
          <p:nvPr/>
        </p:nvSpPr>
        <p:spPr bwMode="auto">
          <a:xfrm>
            <a:off x="3180470" y="2001701"/>
            <a:ext cx="5645640" cy="409195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5" name="Rectangle 148"/>
          <p:cNvSpPr>
            <a:spLocks noChangeArrowheads="1"/>
          </p:cNvSpPr>
          <p:nvPr/>
        </p:nvSpPr>
        <p:spPr bwMode="auto">
          <a:xfrm>
            <a:off x="7136245" y="3089089"/>
            <a:ext cx="3367400" cy="2365199"/>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 name="Group 5"/>
          <p:cNvGrpSpPr/>
          <p:nvPr/>
        </p:nvGrpSpPr>
        <p:grpSpPr>
          <a:xfrm>
            <a:off x="1996354" y="4126573"/>
            <a:ext cx="1054100" cy="115888"/>
            <a:chOff x="2220913" y="3722688"/>
            <a:chExt cx="1054100" cy="115888"/>
          </a:xfrm>
          <a:solidFill>
            <a:srgbClr val="505050">
              <a:lumMod val="75000"/>
            </a:srgbClr>
          </a:solidFill>
        </p:grpSpPr>
        <p:sp>
          <p:nvSpPr>
            <p:cNvPr id="7"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9" name="Group 8"/>
          <p:cNvGrpSpPr/>
          <p:nvPr/>
        </p:nvGrpSpPr>
        <p:grpSpPr>
          <a:xfrm>
            <a:off x="1996353" y="4386923"/>
            <a:ext cx="1041400" cy="115888"/>
            <a:chOff x="2220913" y="3983038"/>
            <a:chExt cx="1041400" cy="115888"/>
          </a:xfrm>
        </p:grpSpPr>
        <p:sp>
          <p:nvSpPr>
            <p:cNvPr id="10"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 name="Rectangle 20"/>
          <p:cNvSpPr>
            <a:spLocks noChangeArrowheads="1"/>
          </p:cNvSpPr>
          <p:nvPr/>
        </p:nvSpPr>
        <p:spPr bwMode="auto">
          <a:xfrm>
            <a:off x="10709147" y="2773929"/>
            <a:ext cx="1098088" cy="2853557"/>
          </a:xfrm>
          <a:prstGeom prst="rect">
            <a:avLst/>
          </a:prstGeom>
          <a:solidFill>
            <a:srgbClr val="89CB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Business Process</a:t>
            </a:r>
          </a:p>
          <a:p>
            <a:pPr marL="0" marR="0" lvl="0" indent="0" algn="l" defTabSz="932574" rtl="0" eaLnBrk="1" fontAlgn="auto" latinLnBrk="0" hangingPunct="1">
              <a:lnSpc>
                <a:spcPct val="100000"/>
              </a:lnSpc>
              <a:spcBef>
                <a:spcPts val="0"/>
              </a:spcBef>
              <a:spcAft>
                <a:spcPts val="0"/>
              </a:spcAft>
              <a:buClrTx/>
              <a:buSzTx/>
              <a:buFontTx/>
              <a:buNone/>
              <a:tabLst/>
              <a:defRPr/>
            </a:pPr>
            <a:br>
              <a:rPr kumimoji="0" 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ERP/CRM</a:t>
            </a:r>
          </a:p>
        </p:txBody>
      </p:sp>
      <p:sp>
        <p:nvSpPr>
          <p:cNvPr id="13" name="Freeform 12"/>
          <p:cNvSpPr>
            <a:spLocks noChangeAspect="1"/>
          </p:cNvSpPr>
          <p:nvPr/>
        </p:nvSpPr>
        <p:spPr bwMode="auto">
          <a:xfrm rot="5280000">
            <a:off x="3452682" y="39730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4" name="Group 13"/>
          <p:cNvGrpSpPr/>
          <p:nvPr/>
        </p:nvGrpSpPr>
        <p:grpSpPr>
          <a:xfrm>
            <a:off x="5587266" y="4024028"/>
            <a:ext cx="517527" cy="515939"/>
            <a:chOff x="2296894" y="-3310276"/>
            <a:chExt cx="484187" cy="498475"/>
          </a:xfrm>
        </p:grpSpPr>
        <p:sp>
          <p:nvSpPr>
            <p:cNvPr id="1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3" name="Rectangle 180"/>
          <p:cNvSpPr>
            <a:spLocks noChangeArrowheads="1"/>
          </p:cNvSpPr>
          <p:nvPr/>
        </p:nvSpPr>
        <p:spPr bwMode="auto">
          <a:xfrm>
            <a:off x="5502830" y="4561482"/>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Event Hub</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Line 181"/>
          <p:cNvSpPr>
            <a:spLocks noChangeShapeType="1"/>
          </p:cNvSpPr>
          <p:nvPr/>
        </p:nvSpPr>
        <p:spPr bwMode="auto">
          <a:xfrm>
            <a:off x="391245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182"/>
          <p:cNvSpPr>
            <a:spLocks/>
          </p:cNvSpPr>
          <p:nvPr/>
        </p:nvSpPr>
        <p:spPr bwMode="auto">
          <a:xfrm>
            <a:off x="4261704"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Line 183"/>
          <p:cNvSpPr>
            <a:spLocks noChangeShapeType="1"/>
          </p:cNvSpPr>
          <p:nvPr/>
        </p:nvSpPr>
        <p:spPr bwMode="auto">
          <a:xfrm>
            <a:off x="6079391" y="4273266"/>
            <a:ext cx="339727" cy="30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184"/>
          <p:cNvSpPr>
            <a:spLocks/>
          </p:cNvSpPr>
          <p:nvPr/>
        </p:nvSpPr>
        <p:spPr bwMode="auto">
          <a:xfrm>
            <a:off x="6354028" y="42016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8" name="Group 27"/>
          <p:cNvGrpSpPr/>
          <p:nvPr/>
        </p:nvGrpSpPr>
        <p:grpSpPr>
          <a:xfrm>
            <a:off x="5607904" y="3184242"/>
            <a:ext cx="458787" cy="398463"/>
            <a:chOff x="2317532" y="-4150064"/>
            <a:chExt cx="458787" cy="398463"/>
          </a:xfrm>
        </p:grpSpPr>
        <p:sp>
          <p:nvSpPr>
            <p:cNvPr id="2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3" name="Rectangle 189"/>
          <p:cNvSpPr>
            <a:spLocks noChangeArrowheads="1"/>
          </p:cNvSpPr>
          <p:nvPr/>
        </p:nvSpPr>
        <p:spPr bwMode="auto">
          <a:xfrm>
            <a:off x="5406292" y="3598578"/>
            <a:ext cx="86401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orage Bl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Freeform 190"/>
          <p:cNvSpPr>
            <a:spLocks noEditPoints="1"/>
          </p:cNvSpPr>
          <p:nvPr/>
        </p:nvSpPr>
        <p:spPr bwMode="auto">
          <a:xfrm>
            <a:off x="7731978" y="3179479"/>
            <a:ext cx="311151"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Rectangle 191"/>
          <p:cNvSpPr>
            <a:spLocks noChangeArrowheads="1"/>
          </p:cNvSpPr>
          <p:nvPr/>
        </p:nvSpPr>
        <p:spPr bwMode="auto">
          <a:xfrm>
            <a:off x="7493854" y="35795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DocumentD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93"/>
          <p:cNvSpPr>
            <a:spLocks/>
          </p:cNvSpPr>
          <p:nvPr/>
        </p:nvSpPr>
        <p:spPr bwMode="auto">
          <a:xfrm>
            <a:off x="7824053" y="37763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194"/>
          <p:cNvSpPr>
            <a:spLocks/>
          </p:cNvSpPr>
          <p:nvPr/>
        </p:nvSpPr>
        <p:spPr bwMode="auto">
          <a:xfrm>
            <a:off x="471890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195"/>
          <p:cNvSpPr>
            <a:spLocks/>
          </p:cNvSpPr>
          <p:nvPr/>
        </p:nvSpPr>
        <p:spPr bwMode="auto">
          <a:xfrm>
            <a:off x="5460265" y="33191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9" name="Group 38"/>
          <p:cNvGrpSpPr/>
          <p:nvPr/>
        </p:nvGrpSpPr>
        <p:grpSpPr>
          <a:xfrm>
            <a:off x="6154517" y="2439967"/>
            <a:ext cx="508000" cy="450851"/>
            <a:chOff x="3314482" y="-4918414"/>
            <a:chExt cx="508000" cy="450850"/>
          </a:xfrm>
        </p:grpSpPr>
        <p:sp>
          <p:nvSpPr>
            <p:cNvPr id="4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41" name="Group 40"/>
            <p:cNvGrpSpPr/>
            <p:nvPr/>
          </p:nvGrpSpPr>
          <p:grpSpPr>
            <a:xfrm>
              <a:off x="3395444" y="-4880314"/>
              <a:ext cx="363537" cy="342900"/>
              <a:chOff x="3395444" y="-4880314"/>
              <a:chExt cx="363537" cy="342900"/>
            </a:xfrm>
          </p:grpSpPr>
          <p:sp>
            <p:nvSpPr>
              <p:cNvPr id="4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55" name="Rectangle 212"/>
          <p:cNvSpPr>
            <a:spLocks noChangeArrowheads="1"/>
          </p:cNvSpPr>
          <p:nvPr/>
        </p:nvSpPr>
        <p:spPr bwMode="auto">
          <a:xfrm>
            <a:off x="6096354" y="2973602"/>
            <a:ext cx="5850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App</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6" name="Freeform 213"/>
          <p:cNvSpPr>
            <a:spLocks/>
          </p:cNvSpPr>
          <p:nvPr/>
        </p:nvSpPr>
        <p:spPr bwMode="auto">
          <a:xfrm>
            <a:off x="7548185" y="2641316"/>
            <a:ext cx="339369"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14"/>
          <p:cNvSpPr>
            <a:spLocks/>
          </p:cNvSpPr>
          <p:nvPr/>
        </p:nvSpPr>
        <p:spPr bwMode="auto">
          <a:xfrm>
            <a:off x="7435747" y="259395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15"/>
          <p:cNvSpPr>
            <a:spLocks/>
          </p:cNvSpPr>
          <p:nvPr/>
        </p:nvSpPr>
        <p:spPr bwMode="auto">
          <a:xfrm>
            <a:off x="7824053" y="30524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216"/>
          <p:cNvSpPr>
            <a:spLocks/>
          </p:cNvSpPr>
          <p:nvPr/>
        </p:nvSpPr>
        <p:spPr bwMode="auto">
          <a:xfrm>
            <a:off x="5838091" y="2641315"/>
            <a:ext cx="141021" cy="528639"/>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Line 217"/>
          <p:cNvSpPr>
            <a:spLocks noChangeShapeType="1"/>
          </p:cNvSpPr>
          <p:nvPr/>
        </p:nvSpPr>
        <p:spPr bwMode="auto">
          <a:xfrm flipH="1" flipV="1">
            <a:off x="6721290" y="3437577"/>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218"/>
          <p:cNvSpPr>
            <a:spLocks/>
          </p:cNvSpPr>
          <p:nvPr/>
        </p:nvSpPr>
        <p:spPr bwMode="auto">
          <a:xfrm>
            <a:off x="6657692" y="3319351"/>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234"/>
          <p:cNvSpPr>
            <a:spLocks/>
          </p:cNvSpPr>
          <p:nvPr/>
        </p:nvSpPr>
        <p:spPr bwMode="auto">
          <a:xfrm>
            <a:off x="3639404" y="2641317"/>
            <a:ext cx="24241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235"/>
          <p:cNvSpPr>
            <a:spLocks/>
          </p:cNvSpPr>
          <p:nvPr/>
        </p:nvSpPr>
        <p:spPr bwMode="auto">
          <a:xfrm>
            <a:off x="3575903" y="3880700"/>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4" name="Group 63"/>
          <p:cNvGrpSpPr/>
          <p:nvPr/>
        </p:nvGrpSpPr>
        <p:grpSpPr>
          <a:xfrm>
            <a:off x="4398228" y="4024029"/>
            <a:ext cx="641349" cy="498475"/>
            <a:chOff x="1107857" y="-3310276"/>
            <a:chExt cx="641349" cy="498475"/>
          </a:xfrm>
        </p:grpSpPr>
        <p:sp>
          <p:nvSpPr>
            <p:cNvPr id="6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9" name="Rectangle 240"/>
          <p:cNvSpPr>
            <a:spLocks noChangeArrowheads="1"/>
          </p:cNvSpPr>
          <p:nvPr/>
        </p:nvSpPr>
        <p:spPr bwMode="auto">
          <a:xfrm>
            <a:off x="4207728" y="454631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ream Analytic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0" name="Line 241"/>
          <p:cNvSpPr>
            <a:spLocks noChangeShapeType="1"/>
          </p:cNvSpPr>
          <p:nvPr/>
        </p:nvSpPr>
        <p:spPr bwMode="auto">
          <a:xfrm>
            <a:off x="505704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242"/>
          <p:cNvSpPr>
            <a:spLocks/>
          </p:cNvSpPr>
          <p:nvPr/>
        </p:nvSpPr>
        <p:spPr bwMode="auto">
          <a:xfrm>
            <a:off x="5452329"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2" name="Group 71"/>
          <p:cNvGrpSpPr/>
          <p:nvPr/>
        </p:nvGrpSpPr>
        <p:grpSpPr>
          <a:xfrm>
            <a:off x="9043996" y="4043965"/>
            <a:ext cx="425451" cy="427039"/>
            <a:chOff x="5737007" y="-3299164"/>
            <a:chExt cx="425450" cy="427038"/>
          </a:xfrm>
        </p:grpSpPr>
        <p:sp>
          <p:nvSpPr>
            <p:cNvPr id="7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75" name="Rectangle 250"/>
          <p:cNvSpPr>
            <a:spLocks noChangeArrowheads="1"/>
          </p:cNvSpPr>
          <p:nvPr/>
        </p:nvSpPr>
        <p:spPr bwMode="auto">
          <a:xfrm>
            <a:off x="8865050" y="4552122"/>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Logic App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Line 251"/>
          <p:cNvSpPr>
            <a:spLocks noChangeShapeType="1"/>
          </p:cNvSpPr>
          <p:nvPr/>
        </p:nvSpPr>
        <p:spPr bwMode="auto">
          <a:xfrm>
            <a:off x="7100154" y="4282109"/>
            <a:ext cx="1820863"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52"/>
          <p:cNvSpPr>
            <a:spLocks/>
          </p:cNvSpPr>
          <p:nvPr/>
        </p:nvSpPr>
        <p:spPr bwMode="auto">
          <a:xfrm>
            <a:off x="8889265" y="4218609"/>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8" name="Group 77"/>
          <p:cNvGrpSpPr/>
          <p:nvPr/>
        </p:nvGrpSpPr>
        <p:grpSpPr>
          <a:xfrm>
            <a:off x="7853340" y="5082976"/>
            <a:ext cx="479425" cy="485775"/>
            <a:chOff x="4355882" y="-2354601"/>
            <a:chExt cx="479425" cy="485775"/>
          </a:xfrm>
        </p:grpSpPr>
        <p:sp>
          <p:nvSpPr>
            <p:cNvPr id="79"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82" name="Rectangle 256"/>
          <p:cNvSpPr>
            <a:spLocks noChangeArrowheads="1"/>
          </p:cNvSpPr>
          <p:nvPr/>
        </p:nvSpPr>
        <p:spPr bwMode="auto">
          <a:xfrm>
            <a:off x="7918426" y="562748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zure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3" name="Rectangle 257"/>
          <p:cNvSpPr>
            <a:spLocks noChangeArrowheads="1"/>
          </p:cNvSpPr>
          <p:nvPr/>
        </p:nvSpPr>
        <p:spPr bwMode="auto">
          <a:xfrm>
            <a:off x="7600925" y="5800525"/>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ctive Directory</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260"/>
          <p:cNvSpPr>
            <a:spLocks noChangeArrowheads="1"/>
          </p:cNvSpPr>
          <p:nvPr/>
        </p:nvSpPr>
        <p:spPr bwMode="auto">
          <a:xfrm>
            <a:off x="3413979"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IoT Hu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85" name="Group 84"/>
          <p:cNvGrpSpPr/>
          <p:nvPr/>
        </p:nvGrpSpPr>
        <p:grpSpPr>
          <a:xfrm>
            <a:off x="6490552" y="4047678"/>
            <a:ext cx="508000" cy="449263"/>
            <a:chOff x="3314482" y="-3310276"/>
            <a:chExt cx="508000" cy="449263"/>
          </a:xfrm>
        </p:grpSpPr>
        <p:sp>
          <p:nvSpPr>
            <p:cNvPr id="8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0" name="Rectangle 275"/>
          <p:cNvSpPr>
            <a:spLocks noChangeArrowheads="1"/>
          </p:cNvSpPr>
          <p:nvPr/>
        </p:nvSpPr>
        <p:spPr bwMode="auto">
          <a:xfrm>
            <a:off x="6437083" y="45511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J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01" name="Group 100"/>
          <p:cNvGrpSpPr/>
          <p:nvPr/>
        </p:nvGrpSpPr>
        <p:grpSpPr>
          <a:xfrm>
            <a:off x="9575862" y="4105880"/>
            <a:ext cx="1006107" cy="157862"/>
            <a:chOff x="2220913" y="3983038"/>
            <a:chExt cx="1041400" cy="115888"/>
          </a:xfrm>
        </p:grpSpPr>
        <p:sp>
          <p:nvSpPr>
            <p:cNvPr id="102"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04" name="1 Devices - sensors"/>
          <p:cNvGrpSpPr/>
          <p:nvPr/>
        </p:nvGrpSpPr>
        <p:grpSpPr>
          <a:xfrm>
            <a:off x="-119909" y="2073757"/>
            <a:ext cx="3657869" cy="3487793"/>
            <a:chOff x="-977339" y="2485984"/>
            <a:chExt cx="3976839" cy="3501091"/>
          </a:xfrm>
        </p:grpSpPr>
        <p:sp>
          <p:nvSpPr>
            <p:cNvPr id="105" name="TextBox 104"/>
            <p:cNvSpPr txBox="1"/>
            <p:nvPr/>
          </p:nvSpPr>
          <p:spPr>
            <a:xfrm>
              <a:off x="-977339" y="2485984"/>
              <a:ext cx="3976839" cy="834165"/>
            </a:xfrm>
            <a:prstGeom prst="rect">
              <a:avLst/>
            </a:prstGeom>
            <a:noFill/>
            <a:ln>
              <a:noFill/>
              <a:headEnd type="none" w="med" len="med"/>
              <a:tailEnd type="none" w="med" len="med"/>
            </a:ln>
          </p:spPr>
          <p:txBody>
            <a:bodyPr wrap="square" lIns="0" tIns="0" rIns="0" bIns="0" rtlCol="0">
              <a:spAutoFit/>
            </a:bodyPr>
            <a:lstStyle/>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87CD8"/>
                  </a:solidFill>
                  <a:effectLst/>
                  <a:uLnTx/>
                  <a:uFillTx/>
                  <a:latin typeface="Segoe UI Light" panose="020B0502040204020203" pitchFamily="34" charset="0"/>
                  <a:ea typeface="+mn-ea"/>
                  <a:cs typeface="+mn-cs"/>
                </a:rPr>
                <a:t>Device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zure IoT SDK (OS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Linux, RTOS, mBed, Windows, </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ndroid, iOS </a:t>
              </a:r>
            </a:p>
          </p:txBody>
        </p:sp>
        <p:sp>
          <p:nvSpPr>
            <p:cNvPr id="106" name="Rectangle 105"/>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7"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9"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1"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3"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5"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7"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9"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 name="Group 119"/>
          <p:cNvGrpSpPr/>
          <p:nvPr/>
        </p:nvGrpSpPr>
        <p:grpSpPr>
          <a:xfrm rot="10800000">
            <a:off x="9596623" y="4338531"/>
            <a:ext cx="1006107" cy="158409"/>
            <a:chOff x="2220913" y="3983038"/>
            <a:chExt cx="1041400" cy="115888"/>
          </a:xfrm>
        </p:grpSpPr>
        <p:sp>
          <p:nvSpPr>
            <p:cNvPr id="121"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2"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3" name="Freeform 194"/>
          <p:cNvSpPr>
            <a:spLocks/>
          </p:cNvSpPr>
          <p:nvPr/>
        </p:nvSpPr>
        <p:spPr bwMode="auto">
          <a:xfrm flipV="1">
            <a:off x="4740171" y="4764053"/>
            <a:ext cx="773112" cy="357535"/>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4" name="Line 251"/>
          <p:cNvSpPr>
            <a:spLocks noChangeShapeType="1"/>
          </p:cNvSpPr>
          <p:nvPr/>
        </p:nvSpPr>
        <p:spPr bwMode="auto">
          <a:xfrm flipV="1">
            <a:off x="5480834" y="5111416"/>
            <a:ext cx="2406719" cy="10171"/>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5" name="Freeform 192"/>
          <p:cNvSpPr>
            <a:spLocks/>
          </p:cNvSpPr>
          <p:nvPr/>
        </p:nvSpPr>
        <p:spPr bwMode="auto">
          <a:xfrm>
            <a:off x="7100152" y="4242461"/>
            <a:ext cx="787400" cy="86927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6" name="Line 217"/>
          <p:cNvSpPr>
            <a:spLocks noChangeShapeType="1"/>
          </p:cNvSpPr>
          <p:nvPr/>
        </p:nvSpPr>
        <p:spPr bwMode="auto">
          <a:xfrm flipH="1" flipV="1">
            <a:off x="7883082" y="3863354"/>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pic>
        <p:nvPicPr>
          <p:cNvPr id="127" name="Picture 126"/>
          <p:cNvPicPr>
            <a:picLocks noChangeAspect="1"/>
          </p:cNvPicPr>
          <p:nvPr/>
        </p:nvPicPr>
        <p:blipFill>
          <a:blip r:embed="rId3"/>
          <a:stretch>
            <a:fillRect/>
          </a:stretch>
        </p:blipFill>
        <p:spPr>
          <a:xfrm>
            <a:off x="6691309" y="2445000"/>
            <a:ext cx="756595" cy="807572"/>
          </a:xfrm>
          <a:prstGeom prst="rect">
            <a:avLst/>
          </a:prstGeom>
        </p:spPr>
      </p:pic>
    </p:spTree>
    <p:extLst>
      <p:ext uri="{BB962C8B-B14F-4D97-AF65-F5344CB8AC3E}">
        <p14:creationId xmlns:p14="http://schemas.microsoft.com/office/powerpoint/2010/main" val="21238606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your devices to Az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201321" y="4557966"/>
            <a:ext cx="1342789"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PAN-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33122" name="Picture 2" descr="Azure IoT Hub as cloud gateway in internet of things solu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4671" y="1577043"/>
            <a:ext cx="7429500" cy="516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4486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y use IoT Hub?</a:t>
            </a:r>
            <a:endParaRPr lang="en-US" dirty="0"/>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Hub_L200%20Technical%20deck%20(Customer%20facing).png</Url>
      <Description>/kc02/media/Thumbnails/Internet of Things Domain/KC02-23-82490/Microsoft Azure IoT Hub_L200 Technical deck (Customer 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2500</_dlc_DocId>
    <_dlc_DocIdUrl xmlns="230e9df3-be65-4c73-a93b-d1236ebd677e">
      <Url>http://infopedia/kc02/docstore/_layouts/DocIdRedir.aspx?ID=KC02-23-82500</Url>
      <Description>KC02-23-82500</Description>
    </_dlc_DocIdUrl>
    <AverageRating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Props1.xml><?xml version="1.0" encoding="utf-8"?>
<ds:datastoreItem xmlns:ds="http://schemas.openxmlformats.org/officeDocument/2006/customXml" ds:itemID="{A63E41B3-25E6-465A-9576-E6B2B45AE0F2}">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2.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3.xml><?xml version="1.0" encoding="utf-8"?>
<ds:datastoreItem xmlns:ds="http://schemas.openxmlformats.org/officeDocument/2006/customXml" ds:itemID="{C7E07E59-D2C2-427C-BA0A-3F0ED99D77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071CC39-68B5-4892-81F9-EA432C8187B2}">
  <ds:schemaRefs>
    <ds:schemaRef ds:uri="Microsoft.SharePoint.Taxonomy.ContentTypeSync"/>
  </ds:schemaRefs>
</ds:datastoreItem>
</file>

<file path=customXml/itemProps5.xml><?xml version="1.0" encoding="utf-8"?>
<ds:datastoreItem xmlns:ds="http://schemas.openxmlformats.org/officeDocument/2006/customXml" ds:itemID="{E5ED9B46-9AA9-48E6-901A-27BD944B4F4B}">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1633</TotalTime>
  <Words>1940</Words>
  <Application>Microsoft Office PowerPoint</Application>
  <PresentationFormat>Custom</PresentationFormat>
  <Paragraphs>321</Paragraphs>
  <Slides>14</Slides>
  <Notes>12</Notes>
  <HiddenSlides>1</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0" baseType="lpstr">
      <vt:lpstr>MS PGothic</vt:lpstr>
      <vt:lpstr>MS PGothic</vt:lpstr>
      <vt:lpstr>Arial</vt:lpstr>
      <vt:lpstr>Calibri</vt:lpstr>
      <vt:lpstr>Calibri Light</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Office Theme</vt:lpstr>
      <vt:lpstr>think-cell Slide</vt:lpstr>
      <vt:lpstr>Azure IoT Suite</vt:lpstr>
      <vt:lpstr>What is IoT?</vt:lpstr>
      <vt:lpstr>Microsoft’s IoT Strategy</vt:lpstr>
      <vt:lpstr>PowerPoint Presentation</vt:lpstr>
      <vt:lpstr>Azure IoT Suite</vt:lpstr>
      <vt:lpstr>Azure IoT Suite</vt:lpstr>
      <vt:lpstr>Connect your devices to Azure</vt:lpstr>
      <vt:lpstr>PowerPoint Presentation</vt:lpstr>
      <vt:lpstr>Why use IoT Hub?</vt:lpstr>
      <vt:lpstr>IoT Hub endpoints</vt:lpstr>
      <vt:lpstr>Azure IoT SDKs</vt:lpstr>
      <vt:lpstr>Demo Architecture</vt:lpstr>
      <vt:lpstr>Demo</vt:lpstr>
      <vt:lpstr>Learn More</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Azure Bootcamp RDU 2016 - Azure IoT Suite</dc:title>
  <dc:subject>&lt;Speech title here&gt;</dc:subject>
  <dc:creator>Ian Hoppes</dc:creator>
  <cp:keywords/>
  <cp:lastModifiedBy>Ian Hoppes</cp:lastModifiedBy>
  <cp:revision>481</cp:revision>
  <dcterms:created xsi:type="dcterms:W3CDTF">2014-06-10T19:28:25Z</dcterms:created>
  <dcterms:modified xsi:type="dcterms:W3CDTF">2016-04-16T12: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35;#Internet of Things Domain|34685f97-aa46-4d4d-881b-c9a2cde63bef</vt:lpwstr>
  </property>
  <property fmtid="{D5CDD505-2E9C-101B-9397-08002B2CF9AE}" pid="21" name="BusinessArchitecture">
    <vt:lpwstr>2282;#Cloud Platform (solution)|8e62087a-5af4-429b-974d-d6aee352a28f;#329;#New Conversation|5ae50351-4e19-465d-a34a-e592b7a56769;#2416;#Internet of Your Things|cb3354bd-6d29-4656-83fb-4e192665ca2b</vt:lpwstr>
  </property>
  <property fmtid="{D5CDD505-2E9C-101B-9397-08002B2CF9AE}" pid="22" name="Products">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189;#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9a295eea-2720-42a4-a9d7-125e118d5237</vt:lpwstr>
  </property>
  <property fmtid="{D5CDD505-2E9C-101B-9397-08002B2CF9AE}" pid="31" name="p1cd454bacc149bfbcfd764edd279de7">
    <vt:lpwstr/>
  </property>
  <property fmtid="{D5CDD505-2E9C-101B-9397-08002B2CF9AE}" pid="32" name="ItemType">
    <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ies>
</file>